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30" r:id="rId1"/>
    <p:sldMasterId id="2147483648" r:id="rId2"/>
    <p:sldMasterId id="2147484872" r:id="rId3"/>
    <p:sldMasterId id="2147483693" r:id="rId4"/>
    <p:sldMasterId id="2147483660" r:id="rId5"/>
  </p:sldMasterIdLst>
  <p:notesMasterIdLst>
    <p:notesMasterId r:id="rId17"/>
  </p:notesMasterIdLst>
  <p:sldIdLst>
    <p:sldId id="256" r:id="rId6"/>
    <p:sldId id="2076137204" r:id="rId7"/>
    <p:sldId id="2076137205" r:id="rId8"/>
    <p:sldId id="2076137208" r:id="rId9"/>
    <p:sldId id="2076137209" r:id="rId10"/>
    <p:sldId id="2076137210" r:id="rId11"/>
    <p:sldId id="2076137211" r:id="rId12"/>
    <p:sldId id="2076137212" r:id="rId13"/>
    <p:sldId id="2076137213" r:id="rId14"/>
    <p:sldId id="2076137214" r:id="rId15"/>
    <p:sldId id="2076137218"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AB8FEC-56E0-4B22-9EB5-BFE966193DF3}" type="datetimeFigureOut">
              <a:rPr lang="en-US" smtClean="0"/>
              <a:t>1/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2290EE-D227-4B9D-841E-B4D3A78671C3}" type="slidenum">
              <a:rPr lang="en-US" smtClean="0"/>
              <a:t>‹#›</a:t>
            </a:fld>
            <a:endParaRPr lang="en-US"/>
          </a:p>
        </p:txBody>
      </p:sp>
    </p:spTree>
    <p:extLst>
      <p:ext uri="{BB962C8B-B14F-4D97-AF65-F5344CB8AC3E}">
        <p14:creationId xmlns:p14="http://schemas.microsoft.com/office/powerpoint/2010/main" val="671349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is intended to set the direction for CAF and showing the intersect with Well-Architected.</a:t>
            </a:r>
          </a:p>
          <a:p>
            <a:r>
              <a:rPr lang="en-US"/>
              <a:t>The next slide is an example of how we talk to Governanc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7/2021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a:solidFill>
                  <a:schemeClr val="tx1"/>
                </a:solidFill>
                <a:effectLst/>
                <a:latin typeface="+mn-lt"/>
                <a:ea typeface="+mn-ea"/>
                <a:cs typeface="+mn-cs"/>
              </a:rPr>
              <a:t>Without a plan for reliable, well-managed cloud solution operations, cloud adoption efforts will yield little value. The Microsoft Cloud Adoption Framework helps organizations expand their IT management and operations to ensure cloud-based solutions can be operated with secure, cost-effective processes using modern, cloud-first tools. Let’s look into the different aspects we need to consider for simplified and optimal cloud management and operations.</a:t>
            </a:r>
            <a:endParaRPr lang="en-IN"/>
          </a:p>
        </p:txBody>
      </p:sp>
      <p:sp>
        <p:nvSpPr>
          <p:cNvPr id="4" name="Slide Number Placeholder 3"/>
          <p:cNvSpPr>
            <a:spLocks noGrp="1"/>
          </p:cNvSpPr>
          <p:nvPr>
            <p:ph type="sldNum" sz="quarter" idx="10"/>
          </p:nvPr>
        </p:nvSpPr>
        <p:spPr/>
        <p:txBody>
          <a:bodyPr/>
          <a:lstStyle/>
          <a:p>
            <a:fld id="{82EBD52F-6FF0-43DC-9BA4-8566560103F9}" type="slidenum">
              <a:rPr lang="en-IN" smtClean="0"/>
              <a:t>5</a:t>
            </a:fld>
            <a:endParaRPr lang="en-IN"/>
          </a:p>
        </p:txBody>
      </p:sp>
    </p:spTree>
    <p:extLst>
      <p:ext uri="{BB962C8B-B14F-4D97-AF65-F5344CB8AC3E}">
        <p14:creationId xmlns:p14="http://schemas.microsoft.com/office/powerpoint/2010/main" val="2065717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BE9B5-BE74-49B4-9719-3510B970F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B99D67B-93E0-481C-B855-4CAFD53A465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60763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21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799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a:solidFill>
                  <a:schemeClr val="tx1"/>
                </a:solidFill>
                <a:effectLst/>
                <a:latin typeface="+mn-lt"/>
                <a:ea typeface="+mn-ea"/>
                <a:cs typeface="+mn-cs"/>
              </a:rPr>
              <a:t>The preceding steps create actionable approaches to deliver on the Microsoft Cloud Adoption Framework's Manage methodology.</a:t>
            </a:r>
            <a:r>
              <a:rPr lang="en-IN">
                <a:effectLst/>
              </a:rPr>
              <a:t> The Microsoft Cloud Adoption Framework guides customers in establishing tooling to enable cloud management across management baselines, business commitments, enhanced management baseline, and advanced operations.</a:t>
            </a:r>
            <a:endParaRPr lang="en-IN"/>
          </a:p>
        </p:txBody>
      </p:sp>
      <p:sp>
        <p:nvSpPr>
          <p:cNvPr id="4" name="Slide Number Placeholder 3"/>
          <p:cNvSpPr>
            <a:spLocks noGrp="1"/>
          </p:cNvSpPr>
          <p:nvPr>
            <p:ph type="sldNum" sz="quarter" idx="10"/>
          </p:nvPr>
        </p:nvSpPr>
        <p:spPr/>
        <p:txBody>
          <a:bodyPr/>
          <a:lstStyle/>
          <a:p>
            <a:fld id="{82EBD52F-6FF0-43DC-9BA4-8566560103F9}" type="slidenum">
              <a:rPr lang="en-IN" smtClean="0"/>
              <a:t>8</a:t>
            </a:fld>
            <a:endParaRPr lang="en-IN"/>
          </a:p>
        </p:txBody>
      </p:sp>
    </p:spTree>
    <p:extLst>
      <p:ext uri="{BB962C8B-B14F-4D97-AF65-F5344CB8AC3E}">
        <p14:creationId xmlns:p14="http://schemas.microsoft.com/office/powerpoint/2010/main" val="2438794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2.emf"/><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8.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2.jpe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5.xml"/><Relationship Id="rId1" Type="http://schemas.openxmlformats.org/officeDocument/2006/relationships/tags" Target="../tags/tag1.x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3926A-4617-4B0F-959C-62F86E5BC6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AFEEC0-0258-4A18-B18B-BCF302F977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CC78DC-E026-432A-8A5A-2546AA1F2492}"/>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CFB0D0E4-80D7-4197-942D-4EA4601D8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EF55ED-B840-4D24-9884-35C5153F1B04}"/>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8446044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67527-485D-4519-9A66-3AABC4D5C7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983AE4-C7EB-4B97-9EC5-66029F44768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8615CF-ED00-45F6-B5DC-8F114B9A06B9}"/>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514C6106-A5C6-4BA2-8810-12FF7425F2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7A87FC-41CF-4D42-BDE5-345677D8178C}"/>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29714483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558022-4986-4AE6-9F72-AF22CE331B4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963295-DC21-4A6E-BBDB-FBB7470F2B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47E009-65E0-428C-9B26-A533C67BEA21}"/>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8785CF91-3253-4793-A1DD-CA5D967230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979CF8-0F2E-432F-871B-EDD3E8F9D48C}"/>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40863628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4853" y="98457"/>
            <a:ext cx="1395470" cy="311489"/>
          </a:xfrm>
          <a:prstGeom prst="rect">
            <a:avLst/>
          </a:prstGeom>
        </p:spPr>
      </p:pic>
    </p:spTree>
    <p:extLst>
      <p:ext uri="{BB962C8B-B14F-4D97-AF65-F5344CB8AC3E}">
        <p14:creationId xmlns:p14="http://schemas.microsoft.com/office/powerpoint/2010/main" val="357512471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827" y="6406492"/>
            <a:ext cx="1395470" cy="311489"/>
          </a:xfrm>
          <a:prstGeom prst="rect">
            <a:avLst/>
          </a:prstGeom>
        </p:spPr>
      </p:pic>
    </p:spTree>
    <p:extLst>
      <p:ext uri="{BB962C8B-B14F-4D97-AF65-F5344CB8AC3E}">
        <p14:creationId xmlns:p14="http://schemas.microsoft.com/office/powerpoint/2010/main" val="1708570926"/>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22E3-12C2-418B-8E77-FD1FEDCF25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B015E9-BCAD-4E58-AAA5-A52ECA0F0C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F547B7-F723-4949-A4A3-0617AAE13AC8}"/>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9BFEE603-9DD3-4F26-843A-93DF4CD741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433252-74BC-4EAD-94F3-9D65F94F26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519636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7FDB7-C684-427C-9490-67C40B93D9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36666A-876E-4250-9A89-CAFCC02321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B2FBA6-BECF-48F6-92C3-5B44B517FAA5}"/>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3970A7B9-59E2-48BB-9224-54F0789851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1E325A-B3E6-4465-AFD4-F8EC05190E3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133201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FF66A-B88D-4A44-850A-214595044F7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75889-487A-4FDB-967B-E4FBEE3882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02CB94-10B2-4656-8167-33ED2D68A9F5}"/>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891440EF-BFA0-49F2-8CF5-4D92F0362E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C1FBF-4EC1-4BAA-B3C5-8DD073821B98}"/>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8899441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AD280-2C2B-4BB4-914B-5EADDF88AF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8FE7CF-BBFF-41B6-B8FB-77112C97BF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48602B-AFE6-431C-9297-C78C073946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B20952-E2B6-4F53-B456-D696F0B6397A}"/>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6" name="Footer Placeholder 5">
            <a:extLst>
              <a:ext uri="{FF2B5EF4-FFF2-40B4-BE49-F238E27FC236}">
                <a16:creationId xmlns:a16="http://schemas.microsoft.com/office/drawing/2014/main" id="{51596764-AFE4-4980-A955-15EA84DAD2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0EC3D-1A4F-4EFC-8ED8-2D1871DEA7CD}"/>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611145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6F74C-6F5D-4CFC-A40D-49A273811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5B9BCD-4619-449A-88D3-6973EC6351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C690E9-ACBE-4E36-AE92-0EE0F1C221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0084A1-8627-4687-88CD-2E961E3AA2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48E0B-68B4-4C42-8119-46BDD862F9E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74A6-58FF-4B26-B128-8BF8D00C42E2}"/>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8" name="Footer Placeholder 7">
            <a:extLst>
              <a:ext uri="{FF2B5EF4-FFF2-40B4-BE49-F238E27FC236}">
                <a16:creationId xmlns:a16="http://schemas.microsoft.com/office/drawing/2014/main" id="{BE50DA87-7D91-4DEA-9999-2689315F31C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01764F-FBD9-44FC-950E-56968357151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461668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C6F93-62E7-4ACA-9730-4A3F15800F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5F70C5-14F1-4923-A994-D8C11CA29B29}"/>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4" name="Footer Placeholder 3">
            <a:extLst>
              <a:ext uri="{FF2B5EF4-FFF2-40B4-BE49-F238E27FC236}">
                <a16:creationId xmlns:a16="http://schemas.microsoft.com/office/drawing/2014/main" id="{3519D73B-D497-4031-BE20-3BACD1E296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72F5E3-A00C-464E-8C48-A708E751A7A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0166435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463E8F-35F9-473F-A762-000F6512437B}"/>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3" name="Footer Placeholder 2">
            <a:extLst>
              <a:ext uri="{FF2B5EF4-FFF2-40B4-BE49-F238E27FC236}">
                <a16:creationId xmlns:a16="http://schemas.microsoft.com/office/drawing/2014/main" id="{ECAC97D0-9E5A-4CA7-9184-F86252296E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3BF40-D3D1-4DE6-916D-79715430D935}"/>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6958236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3BC95-4FB8-40E3-8EEA-71F8394827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EBDBC-BED9-4EF0-B6AA-4E016BFE1B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230C8-DDAA-47F7-A820-EAA24DAA53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5C5F6-B712-4BCC-AD1D-3966B13D3CF8}"/>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6" name="Footer Placeholder 5">
            <a:extLst>
              <a:ext uri="{FF2B5EF4-FFF2-40B4-BE49-F238E27FC236}">
                <a16:creationId xmlns:a16="http://schemas.microsoft.com/office/drawing/2014/main" id="{1ACA0890-30A3-405E-BED4-13F1039EB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B0141E-6B32-46D8-9D19-37FFF9ABA4BA}"/>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758160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354C8-6DD9-4A6C-8C60-99B9C3CA56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5B05D6-1C4A-40E5-8648-D7C0AFE44B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AC2605-36A4-4481-B192-FD0B4EB21A02}"/>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6F457C28-9D73-488E-8E23-2950151BC4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46521A-B56C-4C2F-B294-6A130300C0F3}"/>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2936280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07BAA-F4F0-4C62-AD38-E032628968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0A0140-7D2C-4CD2-BAD9-30D21C2EC8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A0A15E-890C-4B0F-AE6D-4AFC681215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D25E6C-4857-4AC0-91BA-E1D9AC3BE265}"/>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6" name="Footer Placeholder 5">
            <a:extLst>
              <a:ext uri="{FF2B5EF4-FFF2-40B4-BE49-F238E27FC236}">
                <a16:creationId xmlns:a16="http://schemas.microsoft.com/office/drawing/2014/main" id="{9E16184A-752C-43A5-B487-1DB553EB75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426C90-237B-478A-9DCB-E505EF02C7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279639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9ED31-406B-4651-A7E9-E61D85696F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5D4FFE-ACFE-41E5-9563-FAF9B1AE24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3B722-42F3-4C60-A47D-517CD7F36A3D}"/>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12DB1823-29A3-4F34-A729-D838835818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033680-58ED-41C2-9132-C56C8550C82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054971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9775B-B64F-4CFD-B755-9CA8B46D1B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F0C98A-BDD9-4804-B3C5-06E79A7F4E9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A86A42-4699-47BF-922B-CF38A269E6D1}"/>
              </a:ext>
            </a:extLst>
          </p:cNvPr>
          <p:cNvSpPr>
            <a:spLocks noGrp="1"/>
          </p:cNvSpPr>
          <p:nvPr>
            <p:ph type="dt" sz="half" idx="10"/>
          </p:nvPr>
        </p:nvSpPr>
        <p:spPr/>
        <p:txBody>
          <a:body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B867980A-7AB1-400E-AE6D-B7A3EAAEC0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DAAB0-4A73-4700-A2C2-0BBFB1E709A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23138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735175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6274911"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3" name="Group 22">
            <a:extLst>
              <a:ext uri="{FF2B5EF4-FFF2-40B4-BE49-F238E27FC236}">
                <a16:creationId xmlns:a16="http://schemas.microsoft.com/office/drawing/2014/main" id="{8457DAD4-9BAE-4782-8615-6572178DFB63}"/>
              </a:ext>
            </a:extLst>
          </p:cNvPr>
          <p:cNvGrpSpPr/>
          <p:nvPr userDrawn="1"/>
        </p:nvGrpSpPr>
        <p:grpSpPr>
          <a:xfrm>
            <a:off x="6917723" y="1934746"/>
            <a:ext cx="4334487" cy="3039035"/>
            <a:chOff x="7056437" y="1973262"/>
            <a:chExt cx="4421403" cy="3099534"/>
          </a:xfrm>
        </p:grpSpPr>
        <p:sp>
          <p:nvSpPr>
            <p:cNvPr id="24" name="Freeform: Shape 23">
              <a:extLst>
                <a:ext uri="{FF2B5EF4-FFF2-40B4-BE49-F238E27FC236}">
                  <a16:creationId xmlns:a16="http://schemas.microsoft.com/office/drawing/2014/main" id="{336BC686-C816-4B7D-AE11-24C8A70132ED}"/>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505A2F5D-BF39-4C69-A859-E986C1605AC5}"/>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building_1">
              <a:extLst>
                <a:ext uri="{FF2B5EF4-FFF2-40B4-BE49-F238E27FC236}">
                  <a16:creationId xmlns:a16="http://schemas.microsoft.com/office/drawing/2014/main" id="{EDF3A4D0-82FD-4583-A344-D04DBFF9BD14}"/>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grpSp>
    </p:spTree>
    <p:extLst>
      <p:ext uri="{BB962C8B-B14F-4D97-AF65-F5344CB8AC3E}">
        <p14:creationId xmlns:p14="http://schemas.microsoft.com/office/powerpoint/2010/main" val="3543299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spc="0" baseline="0">
                <a:gradFill>
                  <a:gsLst>
                    <a:gs pos="91000">
                      <a:schemeClr val="tx1"/>
                    </a:gs>
                    <a:gs pos="0">
                      <a:schemeClr val="tx1"/>
                    </a:gs>
                  </a:gsLst>
                  <a:lin ang="5400000" scaled="0"/>
                </a:gradFill>
                <a:latin typeface="+mj-lt"/>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defRPr/>
            </a:pPr>
            <a:r>
              <a:rPr lang="en-US"/>
              <a:t>for your hybrid environment</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Freeform: Shape 10">
            <a:extLst>
              <a:ext uri="{FF2B5EF4-FFF2-40B4-BE49-F238E27FC236}">
                <a16:creationId xmlns:a16="http://schemas.microsoft.com/office/drawing/2014/main" id="{D7D7B48D-3C1F-41E7-A427-37D52367AB57}"/>
              </a:ext>
            </a:extLst>
          </p:cNvPr>
          <p:cNvSpPr/>
          <p:nvPr userDrawn="1"/>
        </p:nvSpPr>
        <p:spPr bwMode="auto">
          <a:xfrm>
            <a:off x="6917723" y="1934746"/>
            <a:ext cx="4334487" cy="239265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DE862598-50B9-495D-9ECA-EDD8D521BCA8}"/>
              </a:ext>
            </a:extLst>
          </p:cNvPr>
          <p:cNvGrpSpPr/>
          <p:nvPr userDrawn="1"/>
        </p:nvGrpSpPr>
        <p:grpSpPr>
          <a:xfrm>
            <a:off x="8787818" y="4105298"/>
            <a:ext cx="594295" cy="444205"/>
            <a:chOff x="8964032" y="4187024"/>
            <a:chExt cx="606212" cy="453048"/>
          </a:xfrm>
        </p:grpSpPr>
        <p:sp>
          <p:nvSpPr>
            <p:cNvPr id="25" name="Rectangle 24">
              <a:extLst>
                <a:ext uri="{FF2B5EF4-FFF2-40B4-BE49-F238E27FC236}">
                  <a16:creationId xmlns:a16="http://schemas.microsoft.com/office/drawing/2014/main" id="{324A94E2-B103-449B-B0C1-ED95FE871D6F}"/>
                </a:ext>
              </a:extLst>
            </p:cNvPr>
            <p:cNvSpPr/>
            <p:nvPr userDrawn="1"/>
          </p:nvSpPr>
          <p:spPr bwMode="auto">
            <a:xfrm>
              <a:off x="8964032" y="4296397"/>
              <a:ext cx="606212" cy="19146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a:extLst>
                <a:ext uri="{FF2B5EF4-FFF2-40B4-BE49-F238E27FC236}">
                  <a16:creationId xmlns:a16="http://schemas.microsoft.com/office/drawing/2014/main" id="{2BA67A96-1D32-4B35-B6B5-4F4231C128F4}"/>
                </a:ext>
              </a:extLst>
            </p:cNvPr>
            <p:cNvGrpSpPr/>
            <p:nvPr userDrawn="1"/>
          </p:nvGrpSpPr>
          <p:grpSpPr>
            <a:xfrm>
              <a:off x="9054373" y="4187024"/>
              <a:ext cx="425530" cy="453048"/>
              <a:chOff x="8984607" y="2564610"/>
              <a:chExt cx="524518" cy="558438"/>
            </a:xfrm>
          </p:grpSpPr>
          <p:sp>
            <p:nvSpPr>
              <p:cNvPr id="27" name="Shield_EA18">
                <a:extLst>
                  <a:ext uri="{FF2B5EF4-FFF2-40B4-BE49-F238E27FC236}">
                    <a16:creationId xmlns:a16="http://schemas.microsoft.com/office/drawing/2014/main" id="{D11CA314-4F53-45DB-A0BB-995627796C42}"/>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28" name="Lock">
                <a:extLst>
                  <a:ext uri="{FF2B5EF4-FFF2-40B4-BE49-F238E27FC236}">
                    <a16:creationId xmlns:a16="http://schemas.microsoft.com/office/drawing/2014/main" id="{FE2E54D1-8833-44BF-89E3-3AEFC08747DF}"/>
                  </a:ext>
                </a:extLst>
              </p:cNvPr>
              <p:cNvSpPr>
                <a:spLocks noChangeAspect="1" noEditPoints="1"/>
              </p:cNvSpPr>
              <p:nvPr/>
            </p:nvSpPr>
            <p:spPr bwMode="auto">
              <a:xfrm>
                <a:off x="9170807" y="2699426"/>
                <a:ext cx="152118" cy="21260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grpSp>
      </p:grpSp>
      <p:sp>
        <p:nvSpPr>
          <p:cNvPr id="29" name="MS cloud text">
            <a:extLst>
              <a:ext uri="{FF2B5EF4-FFF2-40B4-BE49-F238E27FC236}">
                <a16:creationId xmlns:a16="http://schemas.microsoft.com/office/drawing/2014/main" id="{FA4188AC-C68C-4795-BCCB-9F99499FA178}"/>
              </a:ext>
            </a:extLst>
          </p:cNvPr>
          <p:cNvSpPr txBox="1">
            <a:spLocks/>
          </p:cNvSpPr>
          <p:nvPr userDrawn="1"/>
        </p:nvSpPr>
        <p:spPr>
          <a:xfrm>
            <a:off x="6693616" y="3030781"/>
            <a:ext cx="5078638" cy="86605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333" b="0" i="0" u="none" strike="noStrike" kern="0" cap="none" spc="-100" normalizeH="0" baseline="0" noProof="0">
                <a:ln w="3175">
                  <a:noFill/>
                </a:ln>
                <a:gradFill>
                  <a:gsLst>
                    <a:gs pos="86726">
                      <a:schemeClr val="tx1"/>
                    </a:gs>
                    <a:gs pos="59000">
                      <a:schemeClr val="tx1"/>
                    </a:gs>
                  </a:gsLst>
                  <a:lin ang="5400000" scaled="0"/>
                </a:gradFill>
                <a:effectLst/>
                <a:uLnTx/>
                <a:uFillTx/>
                <a:latin typeface="Segoe UI Semilight"/>
                <a:ea typeface="+mn-ea"/>
                <a:cs typeface="Segoe UI Semilight" panose="020B0402040204020203" pitchFamily="34" charset="0"/>
              </a:rPr>
              <a:t>Microsoft Azure</a:t>
            </a:r>
            <a:endParaRPr kumimoji="0" lang="en-US" sz="3333" b="0" i="0" u="none" strike="noStrike" kern="0" cap="none" spc="-100" normalizeH="0" baseline="0" noProof="0">
              <a:ln w="3175">
                <a:noFill/>
              </a:ln>
              <a:gradFill>
                <a:gsLst>
                  <a:gs pos="86726">
                    <a:schemeClr val="tx1"/>
                  </a:gs>
                  <a:gs pos="59000">
                    <a:schemeClr val="tx1"/>
                  </a:gs>
                </a:gsLst>
                <a:lin ang="5400000" scaled="0"/>
              </a:gradFill>
              <a:effectLst/>
              <a:uLnTx/>
              <a:uFillTx/>
              <a:latin typeface="Segoe UI Light"/>
              <a:ea typeface="+mn-ea"/>
              <a:cs typeface="Segoe UI Semilight" panose="020B0402040204020203" pitchFamily="34" charset="0"/>
            </a:endParaRPr>
          </a:p>
        </p:txBody>
      </p:sp>
    </p:spTree>
    <p:extLst>
      <p:ext uri="{BB962C8B-B14F-4D97-AF65-F5344CB8AC3E}">
        <p14:creationId xmlns:p14="http://schemas.microsoft.com/office/powerpoint/2010/main" val="3811187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400"/>
                                        <p:tgtEl>
                                          <p:spTgt spid="29"/>
                                        </p:tgtEl>
                                      </p:cBhvr>
                                    </p:animEffect>
                                  </p:childTnLst>
                                </p:cTn>
                              </p:par>
                              <p:par>
                                <p:cTn id="8" presetID="42" presetClass="path" presetSubtype="0" decel="100000" fill="hold" grpId="1" nodeType="withEffect">
                                  <p:stCondLst>
                                    <p:cond delay="300"/>
                                  </p:stCondLst>
                                  <p:childTnLst>
                                    <p:animMotion origin="layout" path="M -2.15216E-6 -3.1911E-6 L -2.15216E-6 0.09624 " pathEditMode="relative" rAng="0" ptsTypes="AA">
                                      <p:cBhvr>
                                        <p:cTn id="9" dur="700" spd="-100000" fill="hold"/>
                                        <p:tgtEl>
                                          <p:spTgt spid="2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5" name="Group 24">
            <a:extLst>
              <a:ext uri="{FF2B5EF4-FFF2-40B4-BE49-F238E27FC236}">
                <a16:creationId xmlns:a16="http://schemas.microsoft.com/office/drawing/2014/main" id="{35223D86-D2A0-45D5-B343-90B241E5EEF7}"/>
              </a:ext>
            </a:extLst>
          </p:cNvPr>
          <p:cNvGrpSpPr/>
          <p:nvPr userDrawn="1"/>
        </p:nvGrpSpPr>
        <p:grpSpPr>
          <a:xfrm>
            <a:off x="6917723" y="1934746"/>
            <a:ext cx="4334487" cy="3039035"/>
            <a:chOff x="7056437" y="1973262"/>
            <a:chExt cx="4421403" cy="3099534"/>
          </a:xfrm>
        </p:grpSpPr>
        <p:sp>
          <p:nvSpPr>
            <p:cNvPr id="26" name="Freeform: Shape 25">
              <a:extLst>
                <a:ext uri="{FF2B5EF4-FFF2-40B4-BE49-F238E27FC236}">
                  <a16:creationId xmlns:a16="http://schemas.microsoft.com/office/drawing/2014/main" id="{B1C114C3-84A8-44DA-8EC3-B84252A1250B}"/>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A10CB532-F2D3-4AFD-A822-7A684C408101}"/>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building_1">
              <a:extLst>
                <a:ext uri="{FF2B5EF4-FFF2-40B4-BE49-F238E27FC236}">
                  <a16:creationId xmlns:a16="http://schemas.microsoft.com/office/drawing/2014/main" id="{77757B5F-9D57-403E-B694-A612E7F943CA}"/>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grpSp>
      <p:grpSp>
        <p:nvGrpSpPr>
          <p:cNvPr id="29" name="Group 28">
            <a:extLst>
              <a:ext uri="{FF2B5EF4-FFF2-40B4-BE49-F238E27FC236}">
                <a16:creationId xmlns:a16="http://schemas.microsoft.com/office/drawing/2014/main" id="{87D254CC-C5B0-42D6-8A2A-46BC4265C82E}"/>
              </a:ext>
            </a:extLst>
          </p:cNvPr>
          <p:cNvGrpSpPr/>
          <p:nvPr userDrawn="1"/>
        </p:nvGrpSpPr>
        <p:grpSpPr>
          <a:xfrm>
            <a:off x="9313490" y="3091498"/>
            <a:ext cx="425792" cy="453392"/>
            <a:chOff x="8984607" y="2564610"/>
            <a:chExt cx="524518" cy="558438"/>
          </a:xfrm>
        </p:grpSpPr>
        <p:sp>
          <p:nvSpPr>
            <p:cNvPr id="30" name="Shield_EA18">
              <a:extLst>
                <a:ext uri="{FF2B5EF4-FFF2-40B4-BE49-F238E27FC236}">
                  <a16:creationId xmlns:a16="http://schemas.microsoft.com/office/drawing/2014/main" id="{2AA1D0F9-DFB9-4760-ADD1-96E816A6ECF7}"/>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31" name="Lock">
              <a:extLst>
                <a:ext uri="{FF2B5EF4-FFF2-40B4-BE49-F238E27FC236}">
                  <a16:creationId xmlns:a16="http://schemas.microsoft.com/office/drawing/2014/main" id="{C8BAF4D6-3415-4587-A9FF-7A5ACF968542}"/>
                </a:ext>
              </a:extLst>
            </p:cNvPr>
            <p:cNvSpPr>
              <a:spLocks noChangeAspect="1" noEditPoints="1"/>
            </p:cNvSpPr>
            <p:nvPr/>
          </p:nvSpPr>
          <p:spPr bwMode="auto">
            <a:xfrm>
              <a:off x="9177280" y="2708472"/>
              <a:ext cx="139172" cy="1945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68556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a:stretch/>
        </p:blipFill>
        <p:spPr>
          <a:xfrm>
            <a:off x="0" y="488"/>
            <a:ext cx="12191136" cy="6857029"/>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1" y="0"/>
            <a:ext cx="10279315" cy="6858000"/>
          </a:xfrm>
          <a:prstGeom prst="rect">
            <a:avLst/>
          </a:prstGeom>
          <a:gradFill>
            <a:gsLst>
              <a:gs pos="70000">
                <a:schemeClr val="tx1">
                  <a:alpha val="0"/>
                </a:schemeClr>
              </a:gs>
              <a:gs pos="1770">
                <a:schemeClr val="tx1">
                  <a:alpha val="75000"/>
                </a:schemeClr>
              </a:gs>
              <a:gs pos="46000">
                <a:schemeClr val="tx1">
                  <a:alpha val="35000"/>
                </a:scheme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C2F4F149-6ED5-4210-909E-83210444FACE}"/>
              </a:ext>
            </a:extLst>
          </p:cNvPr>
          <p:cNvGrpSpPr>
            <a:grpSpLocks noChangeAspect="1"/>
          </p:cNvGrpSpPr>
          <p:nvPr userDrawn="1"/>
        </p:nvGrpSpPr>
        <p:grpSpPr bwMode="black">
          <a:xfrm>
            <a:off x="459102" y="473352"/>
            <a:ext cx="1416742" cy="302191"/>
            <a:chOff x="4846638" y="3441700"/>
            <a:chExt cx="5910262" cy="1260475"/>
          </a:xfrm>
        </p:grpSpPr>
        <p:sp>
          <p:nvSpPr>
            <p:cNvPr id="12" name="Freeform 27">
              <a:extLst>
                <a:ext uri="{FF2B5EF4-FFF2-40B4-BE49-F238E27FC236}">
                  <a16:creationId xmlns:a16="http://schemas.microsoft.com/office/drawing/2014/main" id="{96D17D3F-C80B-47BD-AC9C-E1A8B985F44B}"/>
                </a:ext>
              </a:extLst>
            </p:cNvPr>
            <p:cNvSpPr>
              <a:spLocks noEditPoints="1"/>
            </p:cNvSpPr>
            <p:nvPr/>
          </p:nvSpPr>
          <p:spPr bwMode="black">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28">
              <a:extLst>
                <a:ext uri="{FF2B5EF4-FFF2-40B4-BE49-F238E27FC236}">
                  <a16:creationId xmlns:a16="http://schemas.microsoft.com/office/drawing/2014/main" id="{D9C426E9-1181-49F6-AEFE-5605BE56C0DE}"/>
                </a:ext>
              </a:extLst>
            </p:cNvPr>
            <p:cNvSpPr>
              <a:spLocks noChangeArrowheads="1"/>
            </p:cNvSpPr>
            <p:nvPr/>
          </p:nvSpPr>
          <p:spPr bwMode="black">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29">
              <a:extLst>
                <a:ext uri="{FF2B5EF4-FFF2-40B4-BE49-F238E27FC236}">
                  <a16:creationId xmlns:a16="http://schemas.microsoft.com/office/drawing/2014/main" id="{E88D50D4-F4C1-47C1-BBC5-A92D7D071D84}"/>
                </a:ext>
              </a:extLst>
            </p:cNvPr>
            <p:cNvSpPr>
              <a:spLocks noChangeArrowheads="1"/>
            </p:cNvSpPr>
            <p:nvPr/>
          </p:nvSpPr>
          <p:spPr bwMode="black">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30">
              <a:extLst>
                <a:ext uri="{FF2B5EF4-FFF2-40B4-BE49-F238E27FC236}">
                  <a16:creationId xmlns:a16="http://schemas.microsoft.com/office/drawing/2014/main" id="{07CDFB18-873E-4324-AABE-182C2CC6EFF4}"/>
                </a:ext>
              </a:extLst>
            </p:cNvPr>
            <p:cNvSpPr>
              <a:spLocks noChangeArrowheads="1"/>
            </p:cNvSpPr>
            <p:nvPr/>
          </p:nvSpPr>
          <p:spPr bwMode="black">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31">
              <a:extLst>
                <a:ext uri="{FF2B5EF4-FFF2-40B4-BE49-F238E27FC236}">
                  <a16:creationId xmlns:a16="http://schemas.microsoft.com/office/drawing/2014/main" id="{4C816255-F0BF-4F19-B8C7-A76D8650C6D2}"/>
                </a:ext>
              </a:extLst>
            </p:cNvPr>
            <p:cNvSpPr>
              <a:spLocks noChangeArrowheads="1"/>
            </p:cNvSpPr>
            <p:nvPr/>
          </p:nvSpPr>
          <p:spPr bwMode="black">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bg1"/>
                    </a:gs>
                    <a:gs pos="64000">
                      <a:schemeClr val="bg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bg1"/>
                    </a:gs>
                    <a:gs pos="64000">
                      <a:schemeClr val="bg1"/>
                    </a:gs>
                  </a:gsLst>
                  <a:lin ang="5400000" scaled="0"/>
                </a:gradFill>
                <a:latin typeface="+mj-lt"/>
              </a:defRPr>
            </a:lvl1pPr>
          </a:lstStyle>
          <a:p>
            <a:pPr lvl="0"/>
            <a:r>
              <a:rPr lang="en-US"/>
              <a:t>for your hybrid environment</a:t>
            </a:r>
          </a:p>
        </p:txBody>
      </p:sp>
    </p:spTree>
    <p:extLst>
      <p:ext uri="{BB962C8B-B14F-4D97-AF65-F5344CB8AC3E}">
        <p14:creationId xmlns:p14="http://schemas.microsoft.com/office/powerpoint/2010/main" val="3103322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F8CCC79-EE57-4390-857C-5BDEF539E5F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a:stretch/>
        </p:blipFill>
        <p:spPr>
          <a:xfrm>
            <a:off x="0" y="488"/>
            <a:ext cx="12191136" cy="6857029"/>
          </a:xfrm>
          <a:prstGeom prst="rect">
            <a:avLst/>
          </a:prstGeom>
        </p:spPr>
      </p:pic>
      <p:sp>
        <p:nvSpPr>
          <p:cNvPr id="3" name="Rectangle 2">
            <a:extLst>
              <a:ext uri="{FF2B5EF4-FFF2-40B4-BE49-F238E27FC236}">
                <a16:creationId xmlns:a16="http://schemas.microsoft.com/office/drawing/2014/main" id="{0EFB2102-FAD9-4A71-B1D5-F6E4413F9232}"/>
              </a:ext>
            </a:extLst>
          </p:cNvPr>
          <p:cNvSpPr/>
          <p:nvPr userDrawn="1"/>
        </p:nvSpPr>
        <p:spPr bwMode="white">
          <a:xfrm>
            <a:off x="0" y="0"/>
            <a:ext cx="6096000" cy="68580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Azure security and management</a:t>
            </a:r>
          </a:p>
        </p:txBody>
      </p:sp>
      <p:sp>
        <p:nvSpPr>
          <p:cNvPr id="5" name="Text Placeholder 4"/>
          <p:cNvSpPr>
            <a:spLocks noGrp="1"/>
          </p:cNvSpPr>
          <p:nvPr>
            <p:ph type="body" sz="quarter" idx="12" hasCustomPrompt="1"/>
          </p:nvPr>
        </p:nvSpPr>
        <p:spPr>
          <a:xfrm>
            <a:off x="269302" y="3878574"/>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60966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A78B06C-2461-4A74-8CD5-7C04FFC27512}"/>
              </a:ext>
            </a:extLst>
          </p:cNvPr>
          <p:cNvPicPr>
            <a:picLocks noChangeAspect="1"/>
          </p:cNvPicPr>
          <p:nvPr userDrawn="1"/>
        </p:nvPicPr>
        <p:blipFill rotWithShape="1">
          <a:blip r:embed="rId2" cstate="email">
            <a:alphaModFix amt="35000"/>
            <a:extLst>
              <a:ext uri="{BEBA8EAE-BF5A-486C-A8C5-ECC9F3942E4B}">
                <a14:imgProps xmlns:a14="http://schemas.microsoft.com/office/drawing/2010/main">
                  <a14:imgLayer r:embed="rId3">
                    <a14:imgEffect>
                      <a14:brightnessContrast contrast="27000"/>
                    </a14:imgEffect>
                  </a14:imgLayer>
                </a14:imgProps>
              </a:ext>
              <a:ext uri="{28A0092B-C50C-407E-A947-70E740481C1C}">
                <a14:useLocalDpi xmlns:a14="http://schemas.microsoft.com/office/drawing/2010/main"/>
              </a:ext>
            </a:extLst>
          </a:blip>
          <a:srcRect/>
          <a:stretch/>
        </p:blipFill>
        <p:spPr>
          <a:xfrm>
            <a:off x="6096000" y="-6129"/>
            <a:ext cx="6095135" cy="6864128"/>
          </a:xfrm>
          <a:prstGeom prst="rect">
            <a:avLst/>
          </a:prstGeom>
          <a:blipFill dpi="0" rotWithShape="1">
            <a:blip r:embed="rId4">
              <a:alphaModFix amt="35000"/>
            </a:blip>
            <a:srcRect/>
            <a:stretch>
              <a:fillRect/>
            </a:stretch>
          </a:blipFill>
          <a:ln w="55000" cap="flat" cmpd="thickThin" algn="ctr">
            <a:noFill/>
            <a:prstDash val="solid"/>
            <a:headEnd type="none" w="med" len="med"/>
            <a:tailEnd type="none" w="med" len="med"/>
          </a:ln>
          <a:effectLst/>
        </p:spPr>
      </p:pic>
      <p:sp>
        <p:nvSpPr>
          <p:cNvPr id="9" name="Title 1"/>
          <p:cNvSpPr>
            <a:spLocks noGrp="1"/>
          </p:cNvSpPr>
          <p:nvPr>
            <p:ph type="title" hasCustomPrompt="1"/>
          </p:nvPr>
        </p:nvSpPr>
        <p:spPr>
          <a:xfrm>
            <a:off x="269302" y="2084187"/>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2" y="3878574"/>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25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2498-2914-47F9-9D32-E36CCAD660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4F95CE-168B-4403-9DF7-22B273153A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6C55DE-6471-46D8-88E4-C1C739907FB6}"/>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CF7BDA8B-9AB2-4965-99EA-6B586DEF48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F00E65-8B94-45D3-8F85-E1AD0CD3D0C4}"/>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33798579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5"/>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46117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669298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5457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441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910035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77457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73086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64402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74707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153312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64A18-6AB5-443C-965B-4F666A261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7068A-ADF7-4D9B-B02D-0A9D067BF62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A3EA07-56C3-48D3-B7D1-64D5DA7B26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987242-F136-4A70-B006-25F7C07BF8F0}"/>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6" name="Footer Placeholder 5">
            <a:extLst>
              <a:ext uri="{FF2B5EF4-FFF2-40B4-BE49-F238E27FC236}">
                <a16:creationId xmlns:a16="http://schemas.microsoft.com/office/drawing/2014/main" id="{3693AA03-2244-4F8C-962E-F9317A3920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220143-491E-4280-96CA-0F537C6A1B96}"/>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187613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26421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2677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9765603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98040132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60926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326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2209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01715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16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020252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A7E38-2EB2-45D7-9172-1FBD5D2479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D05C38-1B58-44F0-8155-F802E1D1736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123E798-084B-49FA-8A13-0E243CADD9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00B7EB-1DE9-49EE-AAE2-E2E845C367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0E4C63-C991-4560-A0B9-455594CFE4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B9A762-B2AE-4DF4-B888-DE4BDFB2F599}"/>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8" name="Footer Placeholder 7">
            <a:extLst>
              <a:ext uri="{FF2B5EF4-FFF2-40B4-BE49-F238E27FC236}">
                <a16:creationId xmlns:a16="http://schemas.microsoft.com/office/drawing/2014/main" id="{CB39AD62-D3E1-4814-B4F9-43E6EFF17F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A296BA4-402E-4C49-A9C9-3FE7E65DC284}"/>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2461071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8084D0-2539-4604-BDDE-D734E73E8A15}" type="datetimeFigureOut">
              <a:rPr lang="en-US" smtClean="0"/>
              <a:t>1/2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27143" y="6392211"/>
            <a:ext cx="2743200" cy="365125"/>
          </a:xfrm>
        </p:spPr>
        <p:txBody>
          <a:bodyPr/>
          <a:lstStyle>
            <a:lvl1pPr>
              <a:defRPr sz="1100"/>
            </a:lvl1pPr>
          </a:lstStyle>
          <a:p>
            <a:fld id="{39670977-5DAA-4505-BEED-92632A361A71}" type="slidenum">
              <a:rPr lang="en-US" smtClean="0"/>
              <a:pPr/>
              <a:t>‹#›</a:t>
            </a:fld>
            <a:endParaRPr lang="en-US"/>
          </a:p>
        </p:txBody>
      </p:sp>
      <p:sp>
        <p:nvSpPr>
          <p:cNvPr id="7" name="Footer Placeholder 2">
            <a:extLst>
              <a:ext uri="{FF2B5EF4-FFF2-40B4-BE49-F238E27FC236}">
                <a16:creationId xmlns:a16="http://schemas.microsoft.com/office/drawing/2014/main" id="{EF58B2AC-648D-4501-AA3C-C5945C512A37}"/>
              </a:ext>
            </a:extLst>
          </p:cNvPr>
          <p:cNvSpPr txBox="1">
            <a:spLocks/>
          </p:cNvSpPr>
          <p:nvPr userDrawn="1"/>
        </p:nvSpPr>
        <p:spPr>
          <a:xfrm>
            <a:off x="485055" y="6558796"/>
            <a:ext cx="3859607" cy="134483"/>
          </a:xfrm>
          <a:prstGeom prst="rect">
            <a:avLst/>
          </a:prstGeom>
        </p:spPr>
        <p:txBody>
          <a:bodyPr vert="horz" lIns="0" tIns="0" rIns="91427" bIns="0" rtlCol="0" anchor="ctr"/>
          <a:lstStyle>
            <a:defPPr>
              <a:defRPr lang="en-US"/>
            </a:defPPr>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82">
                <a:gradFill>
                  <a:gsLst>
                    <a:gs pos="2239">
                      <a:srgbClr val="505050"/>
                    </a:gs>
                    <a:gs pos="11940">
                      <a:srgbClr val="505050"/>
                    </a:gs>
                  </a:gsLst>
                  <a:lin ang="5400000" scaled="0"/>
                </a:gradFill>
              </a:rPr>
              <a:t>Microsoft Confidential</a:t>
            </a:r>
          </a:p>
        </p:txBody>
      </p:sp>
      <p:sp>
        <p:nvSpPr>
          <p:cNvPr id="8" name="Slide Number Placeholder 2">
            <a:extLst>
              <a:ext uri="{FF2B5EF4-FFF2-40B4-BE49-F238E27FC236}">
                <a16:creationId xmlns:a16="http://schemas.microsoft.com/office/drawing/2014/main" id="{128A67B9-4ABC-41E2-9E04-A255C6827854}"/>
              </a:ext>
            </a:extLst>
          </p:cNvPr>
          <p:cNvSpPr txBox="1">
            <a:spLocks/>
          </p:cNvSpPr>
          <p:nvPr userDrawn="1"/>
        </p:nvSpPr>
        <p:spPr>
          <a:xfrm>
            <a:off x="11429922" y="6558796"/>
            <a:ext cx="555596" cy="134483"/>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fld id="{27258FFF-F925-446B-8502-81C933981705}" type="slidenum">
              <a:rPr lang="en-US" sz="1200" smtClean="0">
                <a:gradFill>
                  <a:gsLst>
                    <a:gs pos="2239">
                      <a:srgbClr val="505050"/>
                    </a:gs>
                    <a:gs pos="11940">
                      <a:srgbClr val="505050"/>
                    </a:gs>
                  </a:gsLst>
                  <a:lin ang="5400000" scaled="0"/>
                </a:gradFill>
              </a:rPr>
              <a:pPr defTabSz="914192"/>
              <a:t>‹#›</a:t>
            </a:fld>
            <a:endParaRPr lang="en-US" sz="120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461217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9036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69240" y="13071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40868537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5760064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6166139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9561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851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7"/>
            <a:ext cx="11653523" cy="2055306"/>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92501909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features title and subhead">
    <p:spTree>
      <p:nvGrpSpPr>
        <p:cNvPr id="1" name=""/>
        <p:cNvGrpSpPr/>
        <p:nvPr/>
      </p:nvGrpSpPr>
      <p:grpSpPr>
        <a:xfrm>
          <a:off x="0" y="0"/>
          <a:ext cx="0" cy="0"/>
          <a:chOff x="0" y="0"/>
          <a:chExt cx="0" cy="0"/>
        </a:xfrm>
      </p:grpSpPr>
      <p:sp>
        <p:nvSpPr>
          <p:cNvPr id="8" name="Title 5"/>
          <p:cNvSpPr>
            <a:spLocks noGrp="1"/>
          </p:cNvSpPr>
          <p:nvPr>
            <p:ph type="title"/>
          </p:nvPr>
        </p:nvSpPr>
        <p:spPr>
          <a:xfrm>
            <a:off x="269241" y="289513"/>
            <a:ext cx="11655078" cy="899665"/>
          </a:xfrm>
        </p:spPr>
        <p:txBody>
          <a:bodyPr/>
          <a:lstStyle>
            <a:lvl1pPr>
              <a:defRPr sz="4400"/>
            </a:lvl1pPr>
          </a:lstStyle>
          <a:p>
            <a:r>
              <a:rPr lang="en-US"/>
              <a:t>Click to edit Master title style</a:t>
            </a:r>
          </a:p>
        </p:txBody>
      </p:sp>
      <p:sp>
        <p:nvSpPr>
          <p:cNvPr id="6" name="Text Placeholder 3"/>
          <p:cNvSpPr>
            <a:spLocks noGrp="1"/>
          </p:cNvSpPr>
          <p:nvPr>
            <p:ph type="body" sz="quarter" idx="10" hasCustomPrompt="1"/>
          </p:nvPr>
        </p:nvSpPr>
        <p:spPr>
          <a:xfrm>
            <a:off x="269240" y="10150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407732967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Header and Text">
    <p:spTree>
      <p:nvGrpSpPr>
        <p:cNvPr id="1" name=""/>
        <p:cNvGrpSpPr/>
        <p:nvPr/>
      </p:nvGrpSpPr>
      <p:grpSpPr>
        <a:xfrm>
          <a:off x="0" y="0"/>
          <a:ext cx="0" cy="0"/>
          <a:chOff x="0" y="0"/>
          <a:chExt cx="0" cy="0"/>
        </a:xfrm>
      </p:grpSpPr>
      <p:sp>
        <p:nvSpPr>
          <p:cNvPr id="2" name="Title 1"/>
          <p:cNvSpPr>
            <a:spLocks noGrp="1"/>
          </p:cNvSpPr>
          <p:nvPr>
            <p:ph type="title"/>
          </p:nvPr>
        </p:nvSpPr>
        <p:spPr>
          <a:xfrm>
            <a:off x="139118" y="12700"/>
            <a:ext cx="9627183" cy="607259"/>
          </a:xfrm>
        </p:spPr>
        <p:txBody>
          <a:bodyPr anchor="ctr">
            <a:normAutofit/>
          </a:bodyPr>
          <a:lstStyle/>
          <a:p>
            <a:endParaRPr lang="en-US"/>
          </a:p>
        </p:txBody>
      </p:sp>
      <p:sp>
        <p:nvSpPr>
          <p:cNvPr id="5" name="Text Placeholder 4"/>
          <p:cNvSpPr>
            <a:spLocks noGrp="1"/>
          </p:cNvSpPr>
          <p:nvPr>
            <p:ph type="body" sz="quarter" idx="13"/>
          </p:nvPr>
        </p:nvSpPr>
        <p:spPr>
          <a:xfrm>
            <a:off x="419812" y="1325972"/>
            <a:ext cx="11281123" cy="4374089"/>
          </a:xfrm>
          <a:prstGeom prst="rect">
            <a:avLst/>
          </a:prstGeom>
        </p:spPr>
        <p:txBody>
          <a:bodyPr vert="horz">
            <a:normAutofit/>
          </a:bodyPr>
          <a:lstStyle>
            <a:lvl1pPr marL="0" indent="0">
              <a:buNone/>
              <a:defRPr sz="3732">
                <a:solidFill>
                  <a:srgbClr val="141414"/>
                </a:solidFill>
                <a:latin typeface="Calibri" panose="020F0502020204030204" pitchFamily="34" charset="0"/>
                <a:cs typeface="Calibri" panose="020F0502020204030204" pitchFamily="34" charset="0"/>
              </a:defRPr>
            </a:lvl1pPr>
            <a:lvl2pPr marL="304733" indent="-302618">
              <a:buClr>
                <a:schemeClr val="accent2"/>
              </a:buClr>
              <a:buFont typeface="Arial"/>
              <a:buChar char="•"/>
              <a:defRPr sz="3200">
                <a:solidFill>
                  <a:srgbClr val="141414"/>
                </a:solidFill>
                <a:latin typeface="Calibri" panose="020F0502020204030204" pitchFamily="34" charset="0"/>
                <a:cs typeface="Calibri" panose="020F0502020204030204" pitchFamily="34" charset="0"/>
              </a:defRPr>
            </a:lvl2pPr>
            <a:lvl3pPr marL="383035" indent="-222203">
              <a:buClr>
                <a:schemeClr val="accent2"/>
              </a:buClr>
              <a:buFont typeface="Arial"/>
              <a:buChar char="•"/>
              <a:defRPr sz="2666">
                <a:solidFill>
                  <a:srgbClr val="141414"/>
                </a:solidFill>
                <a:latin typeface="Calibri" panose="020F0502020204030204" pitchFamily="34" charset="0"/>
                <a:cs typeface="Calibri" panose="020F0502020204030204" pitchFamily="34" charset="0"/>
              </a:defRPr>
            </a:lvl3pPr>
            <a:lvl4pPr marL="524819" indent="-234899">
              <a:buClr>
                <a:schemeClr val="accent2"/>
              </a:buClr>
              <a:buFont typeface="Arial"/>
              <a:buChar char="•"/>
              <a:defRPr sz="2400">
                <a:solidFill>
                  <a:srgbClr val="141414"/>
                </a:solidFill>
                <a:latin typeface="Calibri" panose="020F0502020204030204" pitchFamily="34" charset="0"/>
                <a:cs typeface="Calibri" panose="020F0502020204030204" pitchFamily="34" charset="0"/>
              </a:defRPr>
            </a:lvl4pPr>
            <a:lvl5pPr marL="683536" indent="-234899">
              <a:buClr>
                <a:schemeClr val="accent2"/>
              </a:buClr>
              <a:buFont typeface="Arial"/>
              <a:buChar char="•"/>
              <a:defRPr sz="2400">
                <a:solidFill>
                  <a:srgbClr val="141414"/>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14442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a:stretch/>
        </p:blipFill>
        <p:spPr>
          <a:xfrm>
            <a:off x="0" y="488"/>
            <a:ext cx="12191136" cy="6857029"/>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1"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59102" y="470067"/>
            <a:ext cx="1419662" cy="304828"/>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80247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E4552-23A4-44C6-9ADB-3BA97C7E9CB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C549BB-F6B1-42B5-8BB4-B12893362698}"/>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4" name="Footer Placeholder 3">
            <a:extLst>
              <a:ext uri="{FF2B5EF4-FFF2-40B4-BE49-F238E27FC236}">
                <a16:creationId xmlns:a16="http://schemas.microsoft.com/office/drawing/2014/main" id="{5FACB655-EFE7-4C5A-9E61-3B0447CB03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4569E64-5AFD-46E1-A568-BFE473FF7877}"/>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8066195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Header and Text">
    <p:spTree>
      <p:nvGrpSpPr>
        <p:cNvPr id="1" name=""/>
        <p:cNvGrpSpPr/>
        <p:nvPr/>
      </p:nvGrpSpPr>
      <p:grpSpPr>
        <a:xfrm>
          <a:off x="0" y="0"/>
          <a:ext cx="0" cy="0"/>
          <a:chOff x="0" y="0"/>
          <a:chExt cx="0" cy="0"/>
        </a:xfrm>
      </p:grpSpPr>
      <p:sp>
        <p:nvSpPr>
          <p:cNvPr id="2" name="Title 1"/>
          <p:cNvSpPr>
            <a:spLocks noGrp="1"/>
          </p:cNvSpPr>
          <p:nvPr>
            <p:ph type="title"/>
          </p:nvPr>
        </p:nvSpPr>
        <p:spPr>
          <a:xfrm>
            <a:off x="139118" y="12700"/>
            <a:ext cx="9627183" cy="607259"/>
          </a:xfrm>
        </p:spPr>
        <p:txBody>
          <a:bodyPr anchor="ctr">
            <a:normAutofit/>
          </a:bodyPr>
          <a:lstStyle/>
          <a:p>
            <a:endParaRPr lang="en-US"/>
          </a:p>
        </p:txBody>
      </p:sp>
      <p:sp>
        <p:nvSpPr>
          <p:cNvPr id="5" name="Text Placeholder 4"/>
          <p:cNvSpPr>
            <a:spLocks noGrp="1"/>
          </p:cNvSpPr>
          <p:nvPr>
            <p:ph type="body" sz="quarter" idx="13"/>
          </p:nvPr>
        </p:nvSpPr>
        <p:spPr>
          <a:xfrm>
            <a:off x="419812" y="1325972"/>
            <a:ext cx="11281123" cy="4374089"/>
          </a:xfrm>
          <a:prstGeom prst="rect">
            <a:avLst/>
          </a:prstGeom>
        </p:spPr>
        <p:txBody>
          <a:bodyPr vert="horz">
            <a:normAutofit/>
          </a:bodyPr>
          <a:lstStyle>
            <a:lvl1pPr marL="0" indent="0">
              <a:buNone/>
              <a:defRPr sz="3732">
                <a:solidFill>
                  <a:srgbClr val="141414"/>
                </a:solidFill>
                <a:latin typeface="Calibri" panose="020F0502020204030204" pitchFamily="34" charset="0"/>
                <a:cs typeface="Calibri" panose="020F0502020204030204" pitchFamily="34" charset="0"/>
              </a:defRPr>
            </a:lvl1pPr>
            <a:lvl2pPr marL="304733" indent="-302618">
              <a:buClr>
                <a:schemeClr val="accent2"/>
              </a:buClr>
              <a:buFont typeface="Arial"/>
              <a:buChar char="•"/>
              <a:defRPr sz="3200">
                <a:solidFill>
                  <a:srgbClr val="141414"/>
                </a:solidFill>
                <a:latin typeface="Calibri" panose="020F0502020204030204" pitchFamily="34" charset="0"/>
                <a:cs typeface="Calibri" panose="020F0502020204030204" pitchFamily="34" charset="0"/>
              </a:defRPr>
            </a:lvl2pPr>
            <a:lvl3pPr marL="383035" indent="-222203">
              <a:buClr>
                <a:schemeClr val="accent2"/>
              </a:buClr>
              <a:buFont typeface="Arial"/>
              <a:buChar char="•"/>
              <a:defRPr sz="2666">
                <a:solidFill>
                  <a:srgbClr val="141414"/>
                </a:solidFill>
                <a:latin typeface="Calibri" panose="020F0502020204030204" pitchFamily="34" charset="0"/>
                <a:cs typeface="Calibri" panose="020F0502020204030204" pitchFamily="34" charset="0"/>
              </a:defRPr>
            </a:lvl3pPr>
            <a:lvl4pPr marL="524819" indent="-234899">
              <a:buClr>
                <a:schemeClr val="accent2"/>
              </a:buClr>
              <a:buFont typeface="Arial"/>
              <a:buChar char="•"/>
              <a:defRPr sz="2400">
                <a:solidFill>
                  <a:srgbClr val="141414"/>
                </a:solidFill>
                <a:latin typeface="Calibri" panose="020F0502020204030204" pitchFamily="34" charset="0"/>
                <a:cs typeface="Calibri" panose="020F0502020204030204" pitchFamily="34" charset="0"/>
              </a:defRPr>
            </a:lvl4pPr>
            <a:lvl5pPr marL="683536" indent="-234899">
              <a:buClr>
                <a:schemeClr val="accent2"/>
              </a:buClr>
              <a:buFont typeface="Arial"/>
              <a:buChar char="•"/>
              <a:defRPr sz="2400">
                <a:solidFill>
                  <a:srgbClr val="141414"/>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764914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561580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4859A7-C442-4E4D-8FA8-34DAA441669A}"/>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3" name="Footer Placeholder 2">
            <a:extLst>
              <a:ext uri="{FF2B5EF4-FFF2-40B4-BE49-F238E27FC236}">
                <a16:creationId xmlns:a16="http://schemas.microsoft.com/office/drawing/2014/main" id="{71E87A2A-D038-42AC-9A15-1E672E0C71E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18FD13-5063-401D-B78B-64F036B5388B}"/>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27645831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8955C-5DE7-481D-A9C8-4DF61F2E1B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B50738-C560-4965-9321-50FD0C9D02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7B277A-F074-4BDA-A60F-79C6B4A126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664177-850B-4B37-AC13-A9A30501C069}"/>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6" name="Footer Placeholder 5">
            <a:extLst>
              <a:ext uri="{FF2B5EF4-FFF2-40B4-BE49-F238E27FC236}">
                <a16:creationId xmlns:a16="http://schemas.microsoft.com/office/drawing/2014/main" id="{7BBC4B79-7D33-45C1-B3C2-36F9578926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71AE02-F78A-4085-9EE6-532E622679A3}"/>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26247417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88435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123658"/>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042545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15189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25732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A86DD-94EE-4108-AA24-8748F37762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D91BF7D-48C5-4CF8-B112-B3498001BE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04A42B-8AFB-4D4A-AB44-0D54701F51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17149A-8D1C-4526-81CA-5565D6B7131A}"/>
              </a:ext>
            </a:extLst>
          </p:cNvPr>
          <p:cNvSpPr>
            <a:spLocks noGrp="1"/>
          </p:cNvSpPr>
          <p:nvPr>
            <p:ph type="dt" sz="half" idx="10"/>
          </p:nvPr>
        </p:nvSpPr>
        <p:spPr/>
        <p:txBody>
          <a:bodyPr/>
          <a:lstStyle/>
          <a:p>
            <a:fld id="{D152AF59-97CC-416C-910B-3441E5180131}" type="datetimeFigureOut">
              <a:rPr lang="en-US" smtClean="0"/>
              <a:t>1/27/2021</a:t>
            </a:fld>
            <a:endParaRPr lang="en-US"/>
          </a:p>
        </p:txBody>
      </p:sp>
      <p:sp>
        <p:nvSpPr>
          <p:cNvPr id="6" name="Footer Placeholder 5">
            <a:extLst>
              <a:ext uri="{FF2B5EF4-FFF2-40B4-BE49-F238E27FC236}">
                <a16:creationId xmlns:a16="http://schemas.microsoft.com/office/drawing/2014/main" id="{55529663-BD2D-47B9-A1FA-709AA0856A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0363A2-1F04-4113-B8A7-854E21588B73}"/>
              </a:ext>
            </a:extLst>
          </p:cNvPr>
          <p:cNvSpPr>
            <a:spLocks noGrp="1"/>
          </p:cNvSpPr>
          <p:nvPr>
            <p:ph type="sldNum" sz="quarter" idx="12"/>
          </p:nvPr>
        </p:nvSpPr>
        <p:spPr/>
        <p:txBody>
          <a:bodyPr/>
          <a:lstStyle/>
          <a:p>
            <a:fld id="{45B8E484-2289-4EBF-80B5-C0D719436E5D}" type="slidenum">
              <a:rPr lang="en-US" smtClean="0"/>
              <a:t>‹#›</a:t>
            </a:fld>
            <a:endParaRPr lang="en-US"/>
          </a:p>
        </p:txBody>
      </p:sp>
    </p:spTree>
    <p:extLst>
      <p:ext uri="{BB962C8B-B14F-4D97-AF65-F5344CB8AC3E}">
        <p14:creationId xmlns:p14="http://schemas.microsoft.com/office/powerpoint/2010/main" val="41442814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3795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78002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369289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1121920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image" Target="../media/image11.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4.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3942DD-9F0F-4ADC-9AE8-1CFDA97978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809070C-E641-4CC3-BB7B-725F33DF27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B1B1F9-19E4-465D-AFAC-96727BF350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2AF59-97CC-416C-910B-3441E5180131}" type="datetimeFigureOut">
              <a:rPr lang="en-US" smtClean="0"/>
              <a:t>1/27/2021</a:t>
            </a:fld>
            <a:endParaRPr lang="en-US"/>
          </a:p>
        </p:txBody>
      </p:sp>
      <p:sp>
        <p:nvSpPr>
          <p:cNvPr id="5" name="Footer Placeholder 4">
            <a:extLst>
              <a:ext uri="{FF2B5EF4-FFF2-40B4-BE49-F238E27FC236}">
                <a16:creationId xmlns:a16="http://schemas.microsoft.com/office/drawing/2014/main" id="{2CDA5AEA-FCBA-469B-93A2-C5539DEC4C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2384933-A49C-42BE-9BE2-C9517447E4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B8E484-2289-4EBF-80B5-C0D719436E5D}" type="slidenum">
              <a:rPr lang="en-US" smtClean="0"/>
              <a:t>‹#›</a:t>
            </a:fld>
            <a:endParaRPr lang="en-US"/>
          </a:p>
        </p:txBody>
      </p:sp>
    </p:spTree>
    <p:extLst>
      <p:ext uri="{BB962C8B-B14F-4D97-AF65-F5344CB8AC3E}">
        <p14:creationId xmlns:p14="http://schemas.microsoft.com/office/powerpoint/2010/main" val="2206440740"/>
      </p:ext>
    </p:extLst>
  </p:cSld>
  <p:clrMap bg1="lt1" tx1="dk1" bg2="lt2" tx2="dk2" accent1="accent1" accent2="accent2" accent3="accent3" accent4="accent4" accent5="accent5" accent6="accent6" hlink="hlink" folHlink="folHlink"/>
  <p:sldLayoutIdLst>
    <p:sldLayoutId id="2147485031" r:id="rId1"/>
    <p:sldLayoutId id="2147485032" r:id="rId2"/>
    <p:sldLayoutId id="2147485033" r:id="rId3"/>
    <p:sldLayoutId id="2147485034" r:id="rId4"/>
    <p:sldLayoutId id="2147485035" r:id="rId5"/>
    <p:sldLayoutId id="2147485036" r:id="rId6"/>
    <p:sldLayoutId id="2147485037" r:id="rId7"/>
    <p:sldLayoutId id="2147485038" r:id="rId8"/>
    <p:sldLayoutId id="2147485039" r:id="rId9"/>
    <p:sldLayoutId id="2147485040" r:id="rId10"/>
    <p:sldLayoutId id="21474850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3B4975-F412-41E4-9716-4461148A20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5D894F-AAF4-43B3-A3E6-DF1F72AE4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22C400-A819-4F9C-B626-BB84A3B737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962DF-6A41-4AAD-83FA-7E1E6F77C0C2}" type="datetimeFigureOut">
              <a:rPr lang="en-US" smtClean="0"/>
              <a:t>1/27/2021</a:t>
            </a:fld>
            <a:endParaRPr lang="en-US"/>
          </a:p>
        </p:txBody>
      </p:sp>
      <p:sp>
        <p:nvSpPr>
          <p:cNvPr id="5" name="Footer Placeholder 4">
            <a:extLst>
              <a:ext uri="{FF2B5EF4-FFF2-40B4-BE49-F238E27FC236}">
                <a16:creationId xmlns:a16="http://schemas.microsoft.com/office/drawing/2014/main" id="{30A6034F-AFFD-4FE0-B06F-EFE9ADF2BF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70F329-C5E2-4E66-95FE-FF575C3F85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AB976-615A-4962-B79B-746AE77AAE9C}" type="slidenum">
              <a:rPr lang="en-US" smtClean="0"/>
              <a:t>‹#›</a:t>
            </a:fld>
            <a:endParaRPr lang="en-US"/>
          </a:p>
        </p:txBody>
      </p:sp>
    </p:spTree>
    <p:extLst>
      <p:ext uri="{BB962C8B-B14F-4D97-AF65-F5344CB8AC3E}">
        <p14:creationId xmlns:p14="http://schemas.microsoft.com/office/powerpoint/2010/main" val="34523157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3371396"/>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4887" r:id="rId15"/>
    <p:sldLayoutId id="2147484888" r:id="rId16"/>
    <p:sldLayoutId id="2147484889" r:id="rId17"/>
    <p:sldLayoutId id="2147484890" r:id="rId18"/>
    <p:sldLayoutId id="2147484891" r:id="rId19"/>
    <p:sldLayoutId id="2147484892" r:id="rId20"/>
    <p:sldLayoutId id="2147484893" r:id="rId21"/>
    <p:sldLayoutId id="2147484894" r:id="rId22"/>
    <p:sldLayoutId id="2147484895" r:id="rId23"/>
    <p:sldLayoutId id="2147484896" r:id="rId24"/>
    <p:sldLayoutId id="2147484897" r:id="rId25"/>
    <p:sldLayoutId id="2147484898" r:id="rId26"/>
    <p:sldLayoutId id="2147484899" r:id="rId27"/>
    <p:sldLayoutId id="2147484900" r:id="rId28"/>
    <p:sldLayoutId id="2147484901" r:id="rId29"/>
    <p:sldLayoutId id="2147484902" r:id="rId30"/>
    <p:sldLayoutId id="2147484903" r:id="rId31"/>
    <p:sldLayoutId id="2147484904" r:id="rId32"/>
    <p:sldLayoutId id="2147484905" r:id="rId33"/>
    <p:sldLayoutId id="2147484906" r:id="rId34"/>
    <p:sldLayoutId id="2147484907" r:id="rId35"/>
    <p:sldLayoutId id="2147484908" r:id="rId36"/>
    <p:sldLayoutId id="2147484909" r:id="rId37"/>
    <p:sldLayoutId id="2147484910" r:id="rId38"/>
    <p:sldLayoutId id="2147484911" r:id="rId3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17"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8" r:id="rId25"/>
    <p:sldLayoutId id="2147484870" r:id="rId26"/>
    <p:sldLayoutId id="2147484912" r:id="rId27"/>
    <p:sldLayoutId id="2147484913" r:id="rId28"/>
    <p:sldLayoutId id="2147484914" r:id="rId29"/>
    <p:sldLayoutId id="2147485029"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5028" r:id="rId1"/>
    <p:sldLayoutId id="2147484869"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72" r:id="rId11"/>
    <p:sldLayoutId id="2147483678" r:id="rId12"/>
    <p:sldLayoutId id="2147483679" r:id="rId13"/>
    <p:sldLayoutId id="2147483680" r:id="rId14"/>
    <p:sldLayoutId id="2147483681" r:id="rId15"/>
    <p:sldLayoutId id="2147483682" r:id="rId16"/>
    <p:sldLayoutId id="2147483683" r:id="rId17"/>
    <p:sldLayoutId id="2147484951" r:id="rId18"/>
    <p:sldLayoutId id="2147484952" r:id="rId19"/>
    <p:sldLayoutId id="2147484953" r:id="rId20"/>
    <p:sldLayoutId id="2147484954" r:id="rId21"/>
    <p:sldLayoutId id="2147484955" r:id="rId22"/>
    <p:sldLayoutId id="2147484956" r:id="rId23"/>
    <p:sldLayoutId id="2147484957" r:id="rId24"/>
    <p:sldLayoutId id="2147484958" r:id="rId25"/>
    <p:sldLayoutId id="2147484959" r:id="rId26"/>
    <p:sldLayoutId id="2147484968" r:id="rId27"/>
    <p:sldLayoutId id="214748493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aka.ms/adopt/plan/generator" TargetMode="External"/><Relationship Id="rId2" Type="http://schemas.openxmlformats.org/officeDocument/2006/relationships/hyperlink" Target="http://aka.ms/adopt" TargetMode="External"/><Relationship Id="rId1" Type="http://schemas.openxmlformats.org/officeDocument/2006/relationships/slideLayout" Target="../slideLayouts/slideLayout89.xml"/><Relationship Id="rId5" Type="http://schemas.openxmlformats.org/officeDocument/2006/relationships/hyperlink" Target="http://docs.microsoft.com/learn" TargetMode="External"/><Relationship Id="rId4" Type="http://schemas.openxmlformats.org/officeDocument/2006/relationships/hyperlink" Target="http://aka.ms/enterprise-scal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microsoft.com/office/2007/relationships/hdphoto" Target="../media/hdphoto3.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859B0-0EAD-480D-ABCC-66671AE73AA6}"/>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76AC6C02-BF34-418A-AB41-7872523BFA1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57653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ED76-CF80-4973-8824-F466C569BE5D}"/>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3D9438CA-8D0E-4806-BC87-CDCAE9241F32}"/>
              </a:ext>
            </a:extLst>
          </p:cNvPr>
          <p:cNvSpPr>
            <a:spLocks noGrp="1"/>
          </p:cNvSpPr>
          <p:nvPr>
            <p:ph type="body" sz="quarter" idx="10"/>
          </p:nvPr>
        </p:nvSpPr>
        <p:spPr>
          <a:xfrm>
            <a:off x="586390" y="1434369"/>
            <a:ext cx="11018520" cy="3081356"/>
          </a:xfrm>
        </p:spPr>
        <p:txBody>
          <a:bodyPr/>
          <a:lstStyle/>
          <a:p>
            <a:r>
              <a:rPr lang="en-US">
                <a:hlinkClick r:id="rId2"/>
              </a:rPr>
              <a:t>http://aka.ms/adopt</a:t>
            </a:r>
            <a:endParaRPr lang="en-US"/>
          </a:p>
          <a:p>
            <a:endParaRPr lang="en-US"/>
          </a:p>
          <a:p>
            <a:r>
              <a:rPr lang="en-US">
                <a:hlinkClick r:id="rId3"/>
              </a:rPr>
              <a:t>http://aka.ms/adopt/plan/generator</a:t>
            </a:r>
            <a:endParaRPr lang="en-US"/>
          </a:p>
          <a:p>
            <a:endParaRPr lang="en-US"/>
          </a:p>
          <a:p>
            <a:r>
              <a:rPr lang="en-US">
                <a:hlinkClick r:id="rId4"/>
              </a:rPr>
              <a:t>http://aka.ms/enterprise-scale</a:t>
            </a:r>
            <a:r>
              <a:rPr lang="en-US"/>
              <a:t> - Adoption Framework content</a:t>
            </a:r>
          </a:p>
          <a:p>
            <a:endParaRPr lang="en-US"/>
          </a:p>
          <a:p>
            <a:r>
              <a:rPr lang="en-US">
                <a:hlinkClick r:id="rId5"/>
              </a:rPr>
              <a:t>http://docs.Microsoft.com/learn</a:t>
            </a:r>
            <a:r>
              <a:rPr lang="en-US"/>
              <a:t> - Well-Architected learning path</a:t>
            </a:r>
          </a:p>
          <a:p>
            <a:endParaRPr lang="en-US"/>
          </a:p>
        </p:txBody>
      </p:sp>
    </p:spTree>
    <p:extLst>
      <p:ext uri="{BB962C8B-B14F-4D97-AF65-F5344CB8AC3E}">
        <p14:creationId xmlns:p14="http://schemas.microsoft.com/office/powerpoint/2010/main" val="13884725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F340EE-03E7-4CDE-A173-47FE2B8EC885}"/>
              </a:ext>
            </a:extLst>
          </p:cNvPr>
          <p:cNvSpPr>
            <a:spLocks noGrp="1"/>
          </p:cNvSpPr>
          <p:nvPr>
            <p:ph type="title"/>
          </p:nvPr>
        </p:nvSpPr>
        <p:spPr/>
        <p:txBody>
          <a:bodyPr/>
          <a:lstStyle/>
          <a:p>
            <a:r>
              <a:rPr lang="en-US"/>
              <a:t>Thank you !!!</a:t>
            </a:r>
          </a:p>
        </p:txBody>
      </p:sp>
    </p:spTree>
    <p:extLst>
      <p:ext uri="{BB962C8B-B14F-4D97-AF65-F5344CB8AC3E}">
        <p14:creationId xmlns:p14="http://schemas.microsoft.com/office/powerpoint/2010/main" val="39846277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0C54141-772D-4878-B585-479FB5BA146A}"/>
              </a:ext>
            </a:extLst>
          </p:cNvPr>
          <p:cNvPicPr>
            <a:picLocks noChangeAspect="1"/>
          </p:cNvPicPr>
          <p:nvPr/>
        </p:nvPicPr>
        <p:blipFill rotWithShape="1">
          <a:blip r:embed="rId2"/>
          <a:srcRect l="1713" r="13913" b="-1"/>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FE2BC-1C7D-4967-94A3-5D846254CA87}"/>
              </a:ext>
            </a:extLst>
          </p:cNvPr>
          <p:cNvSpPr>
            <a:spLocks noGrp="1"/>
          </p:cNvSpPr>
          <p:nvPr>
            <p:ph type="ctrTitle"/>
          </p:nvPr>
        </p:nvSpPr>
        <p:spPr>
          <a:xfrm>
            <a:off x="477981" y="1122363"/>
            <a:ext cx="4023360" cy="3204134"/>
          </a:xfrm>
        </p:spPr>
        <p:txBody>
          <a:bodyPr anchor="b">
            <a:normAutofit/>
          </a:bodyPr>
          <a:lstStyle/>
          <a:p>
            <a:pPr algn="l"/>
            <a:r>
              <a:rPr lang="en-US" sz="4800"/>
              <a:t>Cloud Adoption Framework</a:t>
            </a:r>
          </a:p>
        </p:txBody>
      </p:sp>
      <p:sp>
        <p:nvSpPr>
          <p:cNvPr id="3" name="Subtitle 2">
            <a:extLst>
              <a:ext uri="{FF2B5EF4-FFF2-40B4-BE49-F238E27FC236}">
                <a16:creationId xmlns:a16="http://schemas.microsoft.com/office/drawing/2014/main" id="{33A97D45-26E9-4495-BF00-9FD2D60C8451}"/>
              </a:ext>
            </a:extLst>
          </p:cNvPr>
          <p:cNvSpPr>
            <a:spLocks noGrp="1"/>
          </p:cNvSpPr>
          <p:nvPr>
            <p:ph type="subTitle" idx="1"/>
          </p:nvPr>
        </p:nvSpPr>
        <p:spPr>
          <a:xfrm>
            <a:off x="477980" y="4872922"/>
            <a:ext cx="4023359" cy="1208141"/>
          </a:xfrm>
        </p:spPr>
        <p:txBody>
          <a:bodyPr>
            <a:normAutofit/>
          </a:bodyPr>
          <a:lstStyle/>
          <a:p>
            <a:pPr algn="l"/>
            <a:r>
              <a:rPr lang="en-US" sz="2000"/>
              <a:t>Overview</a:t>
            </a:r>
          </a:p>
          <a:p>
            <a:pPr algn="l"/>
            <a:r>
              <a:rPr lang="en-US" sz="2000"/>
              <a:t>Part 3 – Cloud Operations &amp; Management</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746095"/>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B7CB18D-53E1-4BCF-9C77-61F57376FA41}"/>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Agenda</a:t>
            </a:r>
          </a:p>
        </p:txBody>
      </p:sp>
      <p:sp>
        <p:nvSpPr>
          <p:cNvPr id="3" name="Content Placeholder 2">
            <a:extLst>
              <a:ext uri="{FF2B5EF4-FFF2-40B4-BE49-F238E27FC236}">
                <a16:creationId xmlns:a16="http://schemas.microsoft.com/office/drawing/2014/main" id="{18A02DCD-AF69-4B03-8A19-BF4F279D283A}"/>
              </a:ext>
            </a:extLst>
          </p:cNvPr>
          <p:cNvSpPr>
            <a:spLocks noGrp="1"/>
          </p:cNvSpPr>
          <p:nvPr>
            <p:ph idx="1"/>
          </p:nvPr>
        </p:nvSpPr>
        <p:spPr>
          <a:xfrm>
            <a:off x="4810259" y="649480"/>
            <a:ext cx="6555347" cy="5546047"/>
          </a:xfrm>
        </p:spPr>
        <p:txBody>
          <a:bodyPr anchor="ctr">
            <a:norm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Best practices for management.</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Establishing an operational baseline.</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Tools to support management.</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08787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6867778" y="1895836"/>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3775433" y="1878093"/>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3717493" y="2483539"/>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704224" y="4164891"/>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646284" y="4770337"/>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9" name="Rectangle 78">
            <a:extLst>
              <a:ext uri="{FF2B5EF4-FFF2-40B4-BE49-F238E27FC236}">
                <a16:creationId xmlns:a16="http://schemas.microsoft.com/office/drawing/2014/main" id="{31B09133-CED7-4A97-BF57-B55557733130}"/>
              </a:ext>
            </a:extLst>
          </p:cNvPr>
          <p:cNvSpPr/>
          <p:nvPr/>
        </p:nvSpPr>
        <p:spPr>
          <a:xfrm>
            <a:off x="6830352" y="2311644"/>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4731564" y="203793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1662641" y="4378923"/>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7928016" y="2050254"/>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50183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107283"/>
            <a:ext cx="2396034"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67988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9585858" y="2436325"/>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9592324" y="3053769"/>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10594019" y="259914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3780796" y="457525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3894464" y="519269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4741088" y="473807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7335552" y="2581693"/>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7342582" y="3424183"/>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7119684" y="2682050"/>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7077464" y="3514310"/>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4B20B90D-A75E-4EF9-B5F8-CEA36BD29A2C}"/>
              </a:ext>
            </a:extLst>
          </p:cNvPr>
          <p:cNvSpPr/>
          <p:nvPr/>
        </p:nvSpPr>
        <p:spPr>
          <a:xfrm>
            <a:off x="3536118" y="3713620"/>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5" name="Straight Connector 4">
            <a:extLst>
              <a:ext uri="{FF2B5EF4-FFF2-40B4-BE49-F238E27FC236}">
                <a16:creationId xmlns:a16="http://schemas.microsoft.com/office/drawing/2014/main" id="{069DC928-5BD8-4C3F-8F7C-009E901A4733}"/>
              </a:ext>
            </a:extLst>
          </p:cNvPr>
          <p:cNvCxnSpPr>
            <a:cxnSpLocks/>
          </p:cNvCxnSpPr>
          <p:nvPr/>
        </p:nvCxnSpPr>
        <p:spPr>
          <a:xfrm flipH="1">
            <a:off x="9185357" y="3228979"/>
            <a:ext cx="363077" cy="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7" name="Straight Connector 6">
            <a:extLst>
              <a:ext uri="{FF2B5EF4-FFF2-40B4-BE49-F238E27FC236}">
                <a16:creationId xmlns:a16="http://schemas.microsoft.com/office/drawing/2014/main" id="{98D03888-B938-4AF0-AF68-6B770BDDE067}"/>
              </a:ext>
            </a:extLst>
          </p:cNvPr>
          <p:cNvCxnSpPr>
            <a:cxnSpLocks/>
          </p:cNvCxnSpPr>
          <p:nvPr/>
        </p:nvCxnSpPr>
        <p:spPr>
          <a:xfrm>
            <a:off x="4939667" y="435537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8" name="Straight Connector 7">
            <a:extLst>
              <a:ext uri="{FF2B5EF4-FFF2-40B4-BE49-F238E27FC236}">
                <a16:creationId xmlns:a16="http://schemas.microsoft.com/office/drawing/2014/main" id="{09D54AF8-4AFB-4EDF-884F-4A2126AC891A}"/>
              </a:ext>
            </a:extLst>
          </p:cNvPr>
          <p:cNvCxnSpPr>
            <a:cxnSpLocks/>
          </p:cNvCxnSpPr>
          <p:nvPr/>
        </p:nvCxnSpPr>
        <p:spPr>
          <a:xfrm>
            <a:off x="1838659" y="3957007"/>
            <a:ext cx="0" cy="206376"/>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0" name="Rectangle: Rounded Corners 9">
            <a:extLst>
              <a:ext uri="{FF2B5EF4-FFF2-40B4-BE49-F238E27FC236}">
                <a16:creationId xmlns:a16="http://schemas.microsoft.com/office/drawing/2014/main" id="{BC3B22D2-5DC7-4FB6-B72A-0F644CEB8727}"/>
              </a:ext>
              <a:ext uri="{C183D7F6-B498-43B3-948B-1728B52AA6E4}">
                <adec:decorative xmlns:adec="http://schemas.microsoft.com/office/drawing/2017/decorative" val="1"/>
              </a:ext>
            </a:extLst>
          </p:cNvPr>
          <p:cNvSpPr/>
          <p:nvPr/>
        </p:nvSpPr>
        <p:spPr>
          <a:xfrm>
            <a:off x="7621559" y="4573516"/>
            <a:ext cx="3490671"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31BBF809-0662-40BD-85EB-6109DE307C91}"/>
              </a:ext>
            </a:extLst>
          </p:cNvPr>
          <p:cNvSpPr txBox="1"/>
          <p:nvPr/>
        </p:nvSpPr>
        <p:spPr>
          <a:xfrm>
            <a:off x="7819898" y="5142843"/>
            <a:ext cx="3139649" cy="612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Well-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al Excellence | Performance Efficiency | Reliability | Security | Cost Optimization </a:t>
            </a:r>
          </a:p>
        </p:txBody>
      </p:sp>
      <p:sp>
        <p:nvSpPr>
          <p:cNvPr id="12" name="Trackers_EADF_bidi">
            <a:extLst>
              <a:ext uri="{FF2B5EF4-FFF2-40B4-BE49-F238E27FC236}">
                <a16:creationId xmlns:a16="http://schemas.microsoft.com/office/drawing/2014/main" id="{BA9B51F1-9E44-406D-BB9A-5C7650DD9049}"/>
              </a:ext>
              <a:ext uri="{C183D7F6-B498-43B3-948B-1728B52AA6E4}">
                <adec:decorative xmlns:adec="http://schemas.microsoft.com/office/drawing/2017/decorative" val="1"/>
              </a:ext>
            </a:extLst>
          </p:cNvPr>
          <p:cNvSpPr>
            <a:spLocks noChangeAspect="1" noEditPoints="1"/>
          </p:cNvSpPr>
          <p:nvPr/>
        </p:nvSpPr>
        <p:spPr bwMode="auto">
          <a:xfrm>
            <a:off x="9239041" y="4688223"/>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18CCA53B-963B-4643-B21D-B1EDE84A9CC2}"/>
              </a:ext>
            </a:extLst>
          </p:cNvPr>
          <p:cNvCxnSpPr>
            <a:cxnSpLocks/>
          </p:cNvCxnSpPr>
          <p:nvPr/>
        </p:nvCxnSpPr>
        <p:spPr>
          <a:xfrm>
            <a:off x="8113567" y="437525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2D044DFB-8494-4D4A-8D1C-B879986F6642}"/>
              </a:ext>
            </a:extLst>
          </p:cNvPr>
          <p:cNvCxnSpPr>
            <a:cxnSpLocks/>
          </p:cNvCxnSpPr>
          <p:nvPr/>
        </p:nvCxnSpPr>
        <p:spPr>
          <a:xfrm>
            <a:off x="10578471" y="3892387"/>
            <a:ext cx="0" cy="69036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5921BA67-E8F9-4DEE-B012-F4CA68C8320F}"/>
              </a:ext>
            </a:extLst>
          </p:cNvPr>
          <p:cNvSpPr txBox="1"/>
          <p:nvPr/>
        </p:nvSpPr>
        <p:spPr>
          <a:xfrm>
            <a:off x="1302327" y="878647"/>
            <a:ext cx="103393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Business </a:t>
            </a:r>
          </a:p>
        </p:txBody>
      </p:sp>
      <p:sp>
        <p:nvSpPr>
          <p:cNvPr id="35" name="TextBox 34">
            <a:extLst>
              <a:ext uri="{FF2B5EF4-FFF2-40B4-BE49-F238E27FC236}">
                <a16:creationId xmlns:a16="http://schemas.microsoft.com/office/drawing/2014/main" id="{4AB58CFE-218A-4822-8F3E-C174DB82875A}"/>
              </a:ext>
            </a:extLst>
          </p:cNvPr>
          <p:cNvSpPr txBox="1"/>
          <p:nvPr/>
        </p:nvSpPr>
        <p:spPr>
          <a:xfrm>
            <a:off x="4412672" y="878647"/>
            <a:ext cx="103502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Platform </a:t>
            </a:r>
          </a:p>
        </p:txBody>
      </p:sp>
      <p:sp>
        <p:nvSpPr>
          <p:cNvPr id="36" name="TextBox 35">
            <a:extLst>
              <a:ext uri="{FF2B5EF4-FFF2-40B4-BE49-F238E27FC236}">
                <a16:creationId xmlns:a16="http://schemas.microsoft.com/office/drawing/2014/main" id="{420ADCC9-EA12-4EC0-BA97-1A948E196E12}"/>
              </a:ext>
            </a:extLst>
          </p:cNvPr>
          <p:cNvSpPr txBox="1"/>
          <p:nvPr/>
        </p:nvSpPr>
        <p:spPr>
          <a:xfrm>
            <a:off x="8630419" y="878647"/>
            <a:ext cx="1162241"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a:t>
            </a:r>
          </a:p>
        </p:txBody>
      </p:sp>
      <p:cxnSp>
        <p:nvCxnSpPr>
          <p:cNvPr id="6" name="Straight Connector 5">
            <a:extLst>
              <a:ext uri="{FF2B5EF4-FFF2-40B4-BE49-F238E27FC236}">
                <a16:creationId xmlns:a16="http://schemas.microsoft.com/office/drawing/2014/main" id="{57A9BED3-6E66-4AF0-BF3B-C609349D5FBD}"/>
              </a:ext>
            </a:extLst>
          </p:cNvPr>
          <p:cNvCxnSpPr>
            <a:cxnSpLocks/>
          </p:cNvCxnSpPr>
          <p:nvPr/>
        </p:nvCxnSpPr>
        <p:spPr>
          <a:xfrm>
            <a:off x="3422594"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B1A6DA0B-0FB2-4967-9B99-68FEF2E21158}"/>
              </a:ext>
            </a:extLst>
          </p:cNvPr>
          <p:cNvCxnSpPr>
            <a:cxnSpLocks/>
          </p:cNvCxnSpPr>
          <p:nvPr/>
        </p:nvCxnSpPr>
        <p:spPr>
          <a:xfrm>
            <a:off x="6429035"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9" name="Rectangle 8">
            <a:extLst>
              <a:ext uri="{FF2B5EF4-FFF2-40B4-BE49-F238E27FC236}">
                <a16:creationId xmlns:a16="http://schemas.microsoft.com/office/drawing/2014/main" id="{183499A2-C913-4337-A3F0-F7E977961FEB}"/>
              </a:ext>
            </a:extLst>
          </p:cNvPr>
          <p:cNvSpPr/>
          <p:nvPr/>
        </p:nvSpPr>
        <p:spPr bwMode="auto">
          <a:xfrm>
            <a:off x="-29690" y="666783"/>
            <a:ext cx="12285023" cy="718070"/>
          </a:xfrm>
          <a:prstGeom prst="rect">
            <a:avLst/>
          </a:prstGeom>
          <a:solidFill>
            <a:schemeClr val="accent6">
              <a:lumMod val="20000"/>
              <a:lumOff val="8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a:extLst>
              <a:ext uri="{FF2B5EF4-FFF2-40B4-BE49-F238E27FC236}">
                <a16:creationId xmlns:a16="http://schemas.microsoft.com/office/drawing/2014/main" id="{7E6F4BEC-2C8B-4F77-8AFF-A299340EA196}"/>
              </a:ext>
            </a:extLst>
          </p:cNvPr>
          <p:cNvSpPr>
            <a:spLocks noGrp="1"/>
          </p:cNvSpPr>
          <p:nvPr>
            <p:ph type="title"/>
          </p:nvPr>
        </p:nvSpPr>
        <p:spPr>
          <a:xfrm>
            <a:off x="48490" y="19548"/>
            <a:ext cx="10970029" cy="553998"/>
          </a:xfrm>
        </p:spPr>
        <p:txBody>
          <a:bodyPr>
            <a:noAutofit/>
          </a:bodyPr>
          <a:lstStyle/>
          <a:p>
            <a:r>
              <a:rPr lang="en-US" sz="4000">
                <a:latin typeface="Segoe UI Semibold" panose="020B0702040204020203" pitchFamily="34" charset="0"/>
                <a:cs typeface="Segoe UI Semibold" panose="020B0702040204020203" pitchFamily="34" charset="0"/>
              </a:rPr>
              <a:t>Microsoft Cloud Adoption Framework</a:t>
            </a:r>
          </a:p>
        </p:txBody>
      </p:sp>
      <p:sp>
        <p:nvSpPr>
          <p:cNvPr id="2" name="Rectangle 1">
            <a:extLst>
              <a:ext uri="{FF2B5EF4-FFF2-40B4-BE49-F238E27FC236}">
                <a16:creationId xmlns:a16="http://schemas.microsoft.com/office/drawing/2014/main" id="{66BFB2E5-0122-4C1B-ACD8-F150EBF51848}"/>
              </a:ext>
            </a:extLst>
          </p:cNvPr>
          <p:cNvSpPr/>
          <p:nvPr/>
        </p:nvSpPr>
        <p:spPr>
          <a:xfrm>
            <a:off x="9453646" y="2107283"/>
            <a:ext cx="2566135" cy="20382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21548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263" y="2162180"/>
            <a:ext cx="3183637" cy="1993610"/>
          </a:xfrm>
        </p:spPr>
        <p:txBody>
          <a:bodyPr anchor="ctr" anchorCtr="0"/>
          <a:lstStyle/>
          <a:p>
            <a:pPr>
              <a:lnSpc>
                <a:spcPts val="4000"/>
              </a:lnSpc>
            </a:pPr>
            <a:r>
              <a:rPr lang="en-US" sz="4000" b="1"/>
              <a:t>Cloud management</a:t>
            </a:r>
            <a:br>
              <a:rPr lang="en-US" sz="4000" b="1"/>
            </a:br>
            <a:endParaRPr lang="en-IN" sz="2400"/>
          </a:p>
        </p:txBody>
      </p:sp>
      <p:sp>
        <p:nvSpPr>
          <p:cNvPr id="6" name="Text Placeholder 5"/>
          <p:cNvSpPr>
            <a:spLocks noGrp="1"/>
          </p:cNvSpPr>
          <p:nvPr>
            <p:ph type="body" sz="quarter" idx="10"/>
          </p:nvPr>
        </p:nvSpPr>
        <p:spPr>
          <a:xfrm>
            <a:off x="4938315" y="2627024"/>
            <a:ext cx="5000012" cy="1046440"/>
          </a:xfrm>
        </p:spPr>
        <p:txBody>
          <a:bodyPr/>
          <a:lstStyle/>
          <a:p>
            <a:r>
              <a:rPr lang="en-IN"/>
              <a:t>Operations management for cloud and hybrid solutions</a:t>
            </a:r>
          </a:p>
        </p:txBody>
      </p:sp>
      <p:sp>
        <p:nvSpPr>
          <p:cNvPr id="3" name="Text Placeholder 2">
            <a:extLst>
              <a:ext uri="{FF2B5EF4-FFF2-40B4-BE49-F238E27FC236}">
                <a16:creationId xmlns:a16="http://schemas.microsoft.com/office/drawing/2014/main" id="{843EC529-DCBB-4154-BCB7-90E9B597CC2F}"/>
              </a:ext>
            </a:extLst>
          </p:cNvPr>
          <p:cNvSpPr>
            <a:spLocks noGrp="1"/>
          </p:cNvSpPr>
          <p:nvPr>
            <p:ph type="body" sz="quarter" idx="12"/>
          </p:nvPr>
        </p:nvSpPr>
        <p:spPr>
          <a:xfrm>
            <a:off x="4938315" y="3779015"/>
            <a:ext cx="5166267" cy="675441"/>
          </a:xfrm>
        </p:spPr>
        <p:txBody>
          <a:bodyPr/>
          <a:lstStyle/>
          <a:p>
            <a:pPr marL="0" indent="0">
              <a:buNone/>
            </a:pPr>
            <a:r>
              <a:rPr lang="en-IN" sz="1400"/>
              <a:t>Expand IT management and operations to ensure cloud-based solutions can be operated through secure, cost-effective processes using modern, cloud-first tools.</a:t>
            </a:r>
          </a:p>
        </p:txBody>
      </p:sp>
      <p:sp>
        <p:nvSpPr>
          <p:cNvPr id="4" name="TextBox 3">
            <a:extLst>
              <a:ext uri="{FF2B5EF4-FFF2-40B4-BE49-F238E27FC236}">
                <a16:creationId xmlns:a16="http://schemas.microsoft.com/office/drawing/2014/main" id="{76C70A38-C102-4EFE-8697-DC2EA99B04CA}"/>
              </a:ext>
            </a:extLst>
          </p:cNvPr>
          <p:cNvSpPr txBox="1"/>
          <p:nvPr/>
        </p:nvSpPr>
        <p:spPr>
          <a:xfrm>
            <a:off x="588263" y="3606337"/>
            <a:ext cx="3466501" cy="775597"/>
          </a:xfrm>
          <a:prstGeom prst="rect">
            <a:avLst/>
          </a:prstGeom>
          <a:noFill/>
        </p:spPr>
        <p:txBody>
          <a:bodyPr wrap="square" lIns="0" tIns="0" rIns="0" bIns="0" rtlCol="0">
            <a:spAutoFit/>
          </a:bodyPr>
          <a:lstStyle/>
          <a:p>
            <a:pPr>
              <a:lnSpc>
                <a:spcPct val="90000"/>
              </a:lnSpc>
              <a:spcAft>
                <a:spcPts val="600"/>
              </a:spcAft>
            </a:pPr>
            <a:r>
              <a:rPr lang="en-US" sz="2800">
                <a:solidFill>
                  <a:schemeClr val="bg1"/>
                </a:solidFill>
              </a:rPr>
              <a:t>Cloud Adoption Framework</a:t>
            </a:r>
          </a:p>
        </p:txBody>
      </p:sp>
    </p:spTree>
    <p:extLst>
      <p:ext uri="{BB962C8B-B14F-4D97-AF65-F5344CB8AC3E}">
        <p14:creationId xmlns:p14="http://schemas.microsoft.com/office/powerpoint/2010/main" val="73682661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t">
            <a:spAutoFit/>
          </a:bodyPr>
          <a:lstStyle/>
          <a:p>
            <a:pPr defTabSz="914378">
              <a:lnSpc>
                <a:spcPts val="3137"/>
              </a:lnSpc>
            </a:pPr>
            <a:r>
              <a:rPr lang="en-US" sz="2745" spc="-49">
                <a:solidFill>
                  <a:schemeClr val="tx1"/>
                </a:solidFill>
              </a:rPr>
              <a:t>The challenge of monitoring in the Cloud era</a:t>
            </a:r>
          </a:p>
        </p:txBody>
      </p:sp>
      <p:grpSp>
        <p:nvGrpSpPr>
          <p:cNvPr id="341" name="Group 340">
            <a:extLst>
              <a:ext uri="{FF2B5EF4-FFF2-40B4-BE49-F238E27FC236}">
                <a16:creationId xmlns:a16="http://schemas.microsoft.com/office/drawing/2014/main" id="{80AE2FE2-4772-4245-9225-9493AEB24473}"/>
              </a:ext>
            </a:extLst>
          </p:cNvPr>
          <p:cNvGrpSpPr/>
          <p:nvPr/>
        </p:nvGrpSpPr>
        <p:grpSpPr>
          <a:xfrm>
            <a:off x="4024825" y="3617208"/>
            <a:ext cx="1277403" cy="3817073"/>
            <a:chOff x="6877823" y="2981768"/>
            <a:chExt cx="898581" cy="2685093"/>
          </a:xfrm>
          <a:solidFill>
            <a:schemeClr val="accent1"/>
          </a:solidFill>
        </p:grpSpPr>
        <p:sp>
          <p:nvSpPr>
            <p:cNvPr id="342" name="Rectangle 3">
              <a:extLst>
                <a:ext uri="{FF2B5EF4-FFF2-40B4-BE49-F238E27FC236}">
                  <a16:creationId xmlns:a16="http://schemas.microsoft.com/office/drawing/2014/main" id="{BE4F452F-074A-4EC6-AD7F-6883D75CFCC9}"/>
                </a:ext>
              </a:extLst>
            </p:cNvPr>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3" name="Group 342">
              <a:extLst>
                <a:ext uri="{FF2B5EF4-FFF2-40B4-BE49-F238E27FC236}">
                  <a16:creationId xmlns:a16="http://schemas.microsoft.com/office/drawing/2014/main" id="{700C48B4-C21B-4A72-A788-7545FFCBC3C0}"/>
                </a:ext>
              </a:extLst>
            </p:cNvPr>
            <p:cNvGrpSpPr/>
            <p:nvPr/>
          </p:nvGrpSpPr>
          <p:grpSpPr>
            <a:xfrm>
              <a:off x="6877823" y="2981768"/>
              <a:ext cx="898581" cy="2685093"/>
              <a:chOff x="6125069" y="3378167"/>
              <a:chExt cx="401637" cy="1200151"/>
            </a:xfrm>
            <a:grpFill/>
          </p:grpSpPr>
          <p:sp>
            <p:nvSpPr>
              <p:cNvPr id="344" name="Freeform 123">
                <a:extLst>
                  <a:ext uri="{FF2B5EF4-FFF2-40B4-BE49-F238E27FC236}">
                    <a16:creationId xmlns:a16="http://schemas.microsoft.com/office/drawing/2014/main" id="{EBE8BBD1-ECFF-4322-9F42-3CF57D88F75E}"/>
                  </a:ext>
                </a:extLst>
              </p:cNvPr>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5" name="Freeform 124">
                <a:extLst>
                  <a:ext uri="{FF2B5EF4-FFF2-40B4-BE49-F238E27FC236}">
                    <a16:creationId xmlns:a16="http://schemas.microsoft.com/office/drawing/2014/main" id="{C78F3015-5A6F-4164-B78C-8871D0DDC0C8}"/>
                  </a:ext>
                </a:extLst>
              </p:cNvPr>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46" name="Group 345">
                <a:extLst>
                  <a:ext uri="{FF2B5EF4-FFF2-40B4-BE49-F238E27FC236}">
                    <a16:creationId xmlns:a16="http://schemas.microsoft.com/office/drawing/2014/main" id="{6FC55B45-E736-407C-970F-170759C5BB89}"/>
                  </a:ext>
                </a:extLst>
              </p:cNvPr>
              <p:cNvGrpSpPr/>
              <p:nvPr/>
            </p:nvGrpSpPr>
            <p:grpSpPr>
              <a:xfrm>
                <a:off x="6199681" y="3378167"/>
                <a:ext cx="327025" cy="1200151"/>
                <a:chOff x="6199681" y="3378167"/>
                <a:chExt cx="327025" cy="1200151"/>
              </a:xfrm>
              <a:grpFill/>
            </p:grpSpPr>
            <p:sp>
              <p:nvSpPr>
                <p:cNvPr id="347" name="Freeform 115">
                  <a:extLst>
                    <a:ext uri="{FF2B5EF4-FFF2-40B4-BE49-F238E27FC236}">
                      <a16:creationId xmlns:a16="http://schemas.microsoft.com/office/drawing/2014/main" id="{733C4D65-2166-4BD9-ADFA-5B7DF5FA4F8F}"/>
                    </a:ext>
                  </a:extLst>
                </p:cNvPr>
                <p:cNvSpPr>
                  <a:spLocks/>
                </p:cNvSpPr>
                <p:nvPr/>
              </p:nvSpPr>
              <p:spPr bwMode="auto">
                <a:xfrm>
                  <a:off x="6240248" y="3378167"/>
                  <a:ext cx="185380" cy="24684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 name="connsiteX0" fmla="*/ 9380 w 9883"/>
                    <a:gd name="connsiteY0" fmla="*/ 7914 h 10000"/>
                    <a:gd name="connsiteX1" fmla="*/ 8386 w 9883"/>
                    <a:gd name="connsiteY1" fmla="*/ 7914 h 10000"/>
                    <a:gd name="connsiteX2" fmla="*/ 8759 w 9883"/>
                    <a:gd name="connsiteY2" fmla="*/ 6631 h 10000"/>
                    <a:gd name="connsiteX3" fmla="*/ 9007 w 9883"/>
                    <a:gd name="connsiteY3" fmla="*/ 6203 h 10000"/>
                    <a:gd name="connsiteX4" fmla="*/ 9007 w 9883"/>
                    <a:gd name="connsiteY4" fmla="*/ 6150 h 10000"/>
                    <a:gd name="connsiteX5" fmla="*/ 9007 w 9883"/>
                    <a:gd name="connsiteY5" fmla="*/ 6150 h 10000"/>
                    <a:gd name="connsiteX6" fmla="*/ 9318 w 9883"/>
                    <a:gd name="connsiteY6" fmla="*/ 4706 h 10000"/>
                    <a:gd name="connsiteX7" fmla="*/ 7082 w 9883"/>
                    <a:gd name="connsiteY7" fmla="*/ 1497 h 10000"/>
                    <a:gd name="connsiteX8" fmla="*/ 4100 w 9883"/>
                    <a:gd name="connsiteY8" fmla="*/ 0 h 10000"/>
                    <a:gd name="connsiteX9" fmla="*/ 312 w 9883"/>
                    <a:gd name="connsiteY9" fmla="*/ 4064 h 10000"/>
                    <a:gd name="connsiteX10" fmla="*/ 871 w 9883"/>
                    <a:gd name="connsiteY10" fmla="*/ 6150 h 10000"/>
                    <a:gd name="connsiteX11" fmla="*/ 871 w 9883"/>
                    <a:gd name="connsiteY11" fmla="*/ 6150 h 10000"/>
                    <a:gd name="connsiteX12" fmla="*/ 1492 w 9883"/>
                    <a:gd name="connsiteY12" fmla="*/ 7914 h 10000"/>
                    <a:gd name="connsiteX13" fmla="*/ 1 w 9883"/>
                    <a:gd name="connsiteY13" fmla="*/ 8503 h 10000"/>
                    <a:gd name="connsiteX14" fmla="*/ 1554 w 9883"/>
                    <a:gd name="connsiteY14" fmla="*/ 9840 h 10000"/>
                    <a:gd name="connsiteX15" fmla="*/ 4287 w 9883"/>
                    <a:gd name="connsiteY15" fmla="*/ 10000 h 10000"/>
                    <a:gd name="connsiteX16" fmla="*/ 4473 w 9883"/>
                    <a:gd name="connsiteY16" fmla="*/ 10000 h 10000"/>
                    <a:gd name="connsiteX17" fmla="*/ 4473 w 9883"/>
                    <a:gd name="connsiteY17" fmla="*/ 10000 h 10000"/>
                    <a:gd name="connsiteX18" fmla="*/ 4846 w 9883"/>
                    <a:gd name="connsiteY18" fmla="*/ 10000 h 10000"/>
                    <a:gd name="connsiteX19" fmla="*/ 4970 w 9883"/>
                    <a:gd name="connsiteY19" fmla="*/ 10000 h 10000"/>
                    <a:gd name="connsiteX20" fmla="*/ 5032 w 9883"/>
                    <a:gd name="connsiteY20" fmla="*/ 10000 h 10000"/>
                    <a:gd name="connsiteX21" fmla="*/ 5405 w 9883"/>
                    <a:gd name="connsiteY21" fmla="*/ 10000 h 10000"/>
                    <a:gd name="connsiteX22" fmla="*/ 5405 w 9883"/>
                    <a:gd name="connsiteY22" fmla="*/ 10000 h 10000"/>
                    <a:gd name="connsiteX23" fmla="*/ 5591 w 9883"/>
                    <a:gd name="connsiteY23" fmla="*/ 10000 h 10000"/>
                    <a:gd name="connsiteX24" fmla="*/ 8324 w 9883"/>
                    <a:gd name="connsiteY24" fmla="*/ 9840 h 10000"/>
                    <a:gd name="connsiteX25" fmla="*/ 9877 w 9883"/>
                    <a:gd name="connsiteY25" fmla="*/ 8503 h 10000"/>
                    <a:gd name="connsiteX26" fmla="*/ 9380 w 9883"/>
                    <a:gd name="connsiteY26" fmla="*/ 7914 h 10000"/>
                    <a:gd name="connsiteX0" fmla="*/ 9175 w 9684"/>
                    <a:gd name="connsiteY0" fmla="*/ 7914 h 10000"/>
                    <a:gd name="connsiteX1" fmla="*/ 8169 w 9684"/>
                    <a:gd name="connsiteY1" fmla="*/ 7914 h 10000"/>
                    <a:gd name="connsiteX2" fmla="*/ 8547 w 9684"/>
                    <a:gd name="connsiteY2" fmla="*/ 6631 h 10000"/>
                    <a:gd name="connsiteX3" fmla="*/ 8798 w 9684"/>
                    <a:gd name="connsiteY3" fmla="*/ 6203 h 10000"/>
                    <a:gd name="connsiteX4" fmla="*/ 8798 w 9684"/>
                    <a:gd name="connsiteY4" fmla="*/ 6150 h 10000"/>
                    <a:gd name="connsiteX5" fmla="*/ 8798 w 9684"/>
                    <a:gd name="connsiteY5" fmla="*/ 6150 h 10000"/>
                    <a:gd name="connsiteX6" fmla="*/ 9112 w 9684"/>
                    <a:gd name="connsiteY6" fmla="*/ 4706 h 10000"/>
                    <a:gd name="connsiteX7" fmla="*/ 6850 w 9684"/>
                    <a:gd name="connsiteY7" fmla="*/ 1497 h 10000"/>
                    <a:gd name="connsiteX8" fmla="*/ 3833 w 9684"/>
                    <a:gd name="connsiteY8" fmla="*/ 0 h 10000"/>
                    <a:gd name="connsiteX9" fmla="*/ 0 w 9684"/>
                    <a:gd name="connsiteY9" fmla="*/ 4064 h 10000"/>
                    <a:gd name="connsiteX10" fmla="*/ 565 w 9684"/>
                    <a:gd name="connsiteY10" fmla="*/ 6150 h 10000"/>
                    <a:gd name="connsiteX11" fmla="*/ 565 w 9684"/>
                    <a:gd name="connsiteY11" fmla="*/ 6150 h 10000"/>
                    <a:gd name="connsiteX12" fmla="*/ 1194 w 9684"/>
                    <a:gd name="connsiteY12" fmla="*/ 7914 h 10000"/>
                    <a:gd name="connsiteX13" fmla="*/ 1256 w 9684"/>
                    <a:gd name="connsiteY13" fmla="*/ 9840 h 10000"/>
                    <a:gd name="connsiteX14" fmla="*/ 4022 w 9684"/>
                    <a:gd name="connsiteY14" fmla="*/ 10000 h 10000"/>
                    <a:gd name="connsiteX15" fmla="*/ 4210 w 9684"/>
                    <a:gd name="connsiteY15" fmla="*/ 10000 h 10000"/>
                    <a:gd name="connsiteX16" fmla="*/ 4210 w 9684"/>
                    <a:gd name="connsiteY16" fmla="*/ 10000 h 10000"/>
                    <a:gd name="connsiteX17" fmla="*/ 4587 w 9684"/>
                    <a:gd name="connsiteY17" fmla="*/ 10000 h 10000"/>
                    <a:gd name="connsiteX18" fmla="*/ 4713 w 9684"/>
                    <a:gd name="connsiteY18" fmla="*/ 10000 h 10000"/>
                    <a:gd name="connsiteX19" fmla="*/ 4776 w 9684"/>
                    <a:gd name="connsiteY19" fmla="*/ 10000 h 10000"/>
                    <a:gd name="connsiteX20" fmla="*/ 5153 w 9684"/>
                    <a:gd name="connsiteY20" fmla="*/ 10000 h 10000"/>
                    <a:gd name="connsiteX21" fmla="*/ 5153 w 9684"/>
                    <a:gd name="connsiteY21" fmla="*/ 10000 h 10000"/>
                    <a:gd name="connsiteX22" fmla="*/ 5341 w 9684"/>
                    <a:gd name="connsiteY22" fmla="*/ 10000 h 10000"/>
                    <a:gd name="connsiteX23" fmla="*/ 8107 w 9684"/>
                    <a:gd name="connsiteY23" fmla="*/ 9840 h 10000"/>
                    <a:gd name="connsiteX24" fmla="*/ 9678 w 9684"/>
                    <a:gd name="connsiteY24" fmla="*/ 8503 h 10000"/>
                    <a:gd name="connsiteX25" fmla="*/ 9175 w 9684"/>
                    <a:gd name="connsiteY25" fmla="*/ 7914 h 10000"/>
                    <a:gd name="connsiteX0" fmla="*/ 9474 w 10001"/>
                    <a:gd name="connsiteY0" fmla="*/ 7914 h 10957"/>
                    <a:gd name="connsiteX1" fmla="*/ 8436 w 10001"/>
                    <a:gd name="connsiteY1" fmla="*/ 7914 h 10957"/>
                    <a:gd name="connsiteX2" fmla="*/ 8826 w 10001"/>
                    <a:gd name="connsiteY2" fmla="*/ 6631 h 10957"/>
                    <a:gd name="connsiteX3" fmla="*/ 9085 w 10001"/>
                    <a:gd name="connsiteY3" fmla="*/ 6203 h 10957"/>
                    <a:gd name="connsiteX4" fmla="*/ 9085 w 10001"/>
                    <a:gd name="connsiteY4" fmla="*/ 6150 h 10957"/>
                    <a:gd name="connsiteX5" fmla="*/ 9085 w 10001"/>
                    <a:gd name="connsiteY5" fmla="*/ 6150 h 10957"/>
                    <a:gd name="connsiteX6" fmla="*/ 9409 w 10001"/>
                    <a:gd name="connsiteY6" fmla="*/ 4706 h 10957"/>
                    <a:gd name="connsiteX7" fmla="*/ 7074 w 10001"/>
                    <a:gd name="connsiteY7" fmla="*/ 1497 h 10957"/>
                    <a:gd name="connsiteX8" fmla="*/ 3958 w 10001"/>
                    <a:gd name="connsiteY8" fmla="*/ 0 h 10957"/>
                    <a:gd name="connsiteX9" fmla="*/ 0 w 10001"/>
                    <a:gd name="connsiteY9" fmla="*/ 4064 h 10957"/>
                    <a:gd name="connsiteX10" fmla="*/ 583 w 10001"/>
                    <a:gd name="connsiteY10" fmla="*/ 6150 h 10957"/>
                    <a:gd name="connsiteX11" fmla="*/ 583 w 10001"/>
                    <a:gd name="connsiteY11" fmla="*/ 6150 h 10957"/>
                    <a:gd name="connsiteX12" fmla="*/ 1233 w 10001"/>
                    <a:gd name="connsiteY12" fmla="*/ 7914 h 10957"/>
                    <a:gd name="connsiteX13" fmla="*/ 446 w 10001"/>
                    <a:gd name="connsiteY13" fmla="*/ 10911 h 10957"/>
                    <a:gd name="connsiteX14" fmla="*/ 1297 w 10001"/>
                    <a:gd name="connsiteY14" fmla="*/ 9840 h 10957"/>
                    <a:gd name="connsiteX15" fmla="*/ 4153 w 10001"/>
                    <a:gd name="connsiteY15" fmla="*/ 10000 h 10957"/>
                    <a:gd name="connsiteX16" fmla="*/ 4347 w 10001"/>
                    <a:gd name="connsiteY16" fmla="*/ 10000 h 10957"/>
                    <a:gd name="connsiteX17" fmla="*/ 4347 w 10001"/>
                    <a:gd name="connsiteY17" fmla="*/ 10000 h 10957"/>
                    <a:gd name="connsiteX18" fmla="*/ 4737 w 10001"/>
                    <a:gd name="connsiteY18" fmla="*/ 10000 h 10957"/>
                    <a:gd name="connsiteX19" fmla="*/ 4867 w 10001"/>
                    <a:gd name="connsiteY19" fmla="*/ 10000 h 10957"/>
                    <a:gd name="connsiteX20" fmla="*/ 4932 w 10001"/>
                    <a:gd name="connsiteY20" fmla="*/ 10000 h 10957"/>
                    <a:gd name="connsiteX21" fmla="*/ 5321 w 10001"/>
                    <a:gd name="connsiteY21" fmla="*/ 10000 h 10957"/>
                    <a:gd name="connsiteX22" fmla="*/ 5321 w 10001"/>
                    <a:gd name="connsiteY22" fmla="*/ 10000 h 10957"/>
                    <a:gd name="connsiteX23" fmla="*/ 5515 w 10001"/>
                    <a:gd name="connsiteY23" fmla="*/ 10000 h 10957"/>
                    <a:gd name="connsiteX24" fmla="*/ 8372 w 10001"/>
                    <a:gd name="connsiteY24" fmla="*/ 9840 h 10957"/>
                    <a:gd name="connsiteX25" fmla="*/ 9994 w 10001"/>
                    <a:gd name="connsiteY25" fmla="*/ 8503 h 10957"/>
                    <a:gd name="connsiteX26" fmla="*/ 9474 w 10001"/>
                    <a:gd name="connsiteY26" fmla="*/ 7914 h 10957"/>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4153 w 10001"/>
                    <a:gd name="connsiteY15" fmla="*/ 10000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3181 w 10001"/>
                    <a:gd name="connsiteY15" fmla="*/ 10849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9"/>
                    <a:gd name="connsiteX1" fmla="*/ 8436 w 10001"/>
                    <a:gd name="connsiteY1" fmla="*/ 7914 h 10969"/>
                    <a:gd name="connsiteX2" fmla="*/ 8826 w 10001"/>
                    <a:gd name="connsiteY2" fmla="*/ 6631 h 10969"/>
                    <a:gd name="connsiteX3" fmla="*/ 9085 w 10001"/>
                    <a:gd name="connsiteY3" fmla="*/ 6203 h 10969"/>
                    <a:gd name="connsiteX4" fmla="*/ 9085 w 10001"/>
                    <a:gd name="connsiteY4" fmla="*/ 6150 h 10969"/>
                    <a:gd name="connsiteX5" fmla="*/ 9085 w 10001"/>
                    <a:gd name="connsiteY5" fmla="*/ 6150 h 10969"/>
                    <a:gd name="connsiteX6" fmla="*/ 9409 w 10001"/>
                    <a:gd name="connsiteY6" fmla="*/ 4706 h 10969"/>
                    <a:gd name="connsiteX7" fmla="*/ 7074 w 10001"/>
                    <a:gd name="connsiteY7" fmla="*/ 1497 h 10969"/>
                    <a:gd name="connsiteX8" fmla="*/ 3958 w 10001"/>
                    <a:gd name="connsiteY8" fmla="*/ 0 h 10969"/>
                    <a:gd name="connsiteX9" fmla="*/ 0 w 10001"/>
                    <a:gd name="connsiteY9" fmla="*/ 4064 h 10969"/>
                    <a:gd name="connsiteX10" fmla="*/ 583 w 10001"/>
                    <a:gd name="connsiteY10" fmla="*/ 6150 h 10969"/>
                    <a:gd name="connsiteX11" fmla="*/ 583 w 10001"/>
                    <a:gd name="connsiteY11" fmla="*/ 6150 h 10969"/>
                    <a:gd name="connsiteX12" fmla="*/ 1233 w 10001"/>
                    <a:gd name="connsiteY12" fmla="*/ 7914 h 10969"/>
                    <a:gd name="connsiteX13" fmla="*/ 446 w 10001"/>
                    <a:gd name="connsiteY13" fmla="*/ 10911 h 10969"/>
                    <a:gd name="connsiteX14" fmla="*/ 2377 w 10001"/>
                    <a:gd name="connsiteY14" fmla="*/ 9974 h 10969"/>
                    <a:gd name="connsiteX15" fmla="*/ 2227 w 10001"/>
                    <a:gd name="connsiteY15" fmla="*/ 10151 h 10969"/>
                    <a:gd name="connsiteX16" fmla="*/ 3181 w 10001"/>
                    <a:gd name="connsiteY16" fmla="*/ 10849 h 10969"/>
                    <a:gd name="connsiteX17" fmla="*/ 4347 w 10001"/>
                    <a:gd name="connsiteY17" fmla="*/ 10000 h 10969"/>
                    <a:gd name="connsiteX18" fmla="*/ 4347 w 10001"/>
                    <a:gd name="connsiteY18" fmla="*/ 10000 h 10969"/>
                    <a:gd name="connsiteX19" fmla="*/ 4737 w 10001"/>
                    <a:gd name="connsiteY19" fmla="*/ 10000 h 10969"/>
                    <a:gd name="connsiteX20" fmla="*/ 4867 w 10001"/>
                    <a:gd name="connsiteY20" fmla="*/ 10000 h 10969"/>
                    <a:gd name="connsiteX21" fmla="*/ 4932 w 10001"/>
                    <a:gd name="connsiteY21" fmla="*/ 10000 h 10969"/>
                    <a:gd name="connsiteX22" fmla="*/ 5321 w 10001"/>
                    <a:gd name="connsiteY22" fmla="*/ 10000 h 10969"/>
                    <a:gd name="connsiteX23" fmla="*/ 5321 w 10001"/>
                    <a:gd name="connsiteY23" fmla="*/ 10000 h 10969"/>
                    <a:gd name="connsiteX24" fmla="*/ 5515 w 10001"/>
                    <a:gd name="connsiteY24" fmla="*/ 10000 h 10969"/>
                    <a:gd name="connsiteX25" fmla="*/ 8372 w 10001"/>
                    <a:gd name="connsiteY25" fmla="*/ 9840 h 10969"/>
                    <a:gd name="connsiteX26" fmla="*/ 9994 w 10001"/>
                    <a:gd name="connsiteY26" fmla="*/ 8503 h 10969"/>
                    <a:gd name="connsiteX27" fmla="*/ 9474 w 10001"/>
                    <a:gd name="connsiteY27" fmla="*/ 7914 h 10969"/>
                    <a:gd name="connsiteX0" fmla="*/ 9474 w 10001"/>
                    <a:gd name="connsiteY0" fmla="*/ 7914 h 10986"/>
                    <a:gd name="connsiteX1" fmla="*/ 8436 w 10001"/>
                    <a:gd name="connsiteY1" fmla="*/ 7914 h 10986"/>
                    <a:gd name="connsiteX2" fmla="*/ 8826 w 10001"/>
                    <a:gd name="connsiteY2" fmla="*/ 6631 h 10986"/>
                    <a:gd name="connsiteX3" fmla="*/ 9085 w 10001"/>
                    <a:gd name="connsiteY3" fmla="*/ 6203 h 10986"/>
                    <a:gd name="connsiteX4" fmla="*/ 9085 w 10001"/>
                    <a:gd name="connsiteY4" fmla="*/ 6150 h 10986"/>
                    <a:gd name="connsiteX5" fmla="*/ 9085 w 10001"/>
                    <a:gd name="connsiteY5" fmla="*/ 6150 h 10986"/>
                    <a:gd name="connsiteX6" fmla="*/ 9409 w 10001"/>
                    <a:gd name="connsiteY6" fmla="*/ 4706 h 10986"/>
                    <a:gd name="connsiteX7" fmla="*/ 7074 w 10001"/>
                    <a:gd name="connsiteY7" fmla="*/ 1497 h 10986"/>
                    <a:gd name="connsiteX8" fmla="*/ 3958 w 10001"/>
                    <a:gd name="connsiteY8" fmla="*/ 0 h 10986"/>
                    <a:gd name="connsiteX9" fmla="*/ 0 w 10001"/>
                    <a:gd name="connsiteY9" fmla="*/ 4064 h 10986"/>
                    <a:gd name="connsiteX10" fmla="*/ 583 w 10001"/>
                    <a:gd name="connsiteY10" fmla="*/ 6150 h 10986"/>
                    <a:gd name="connsiteX11" fmla="*/ 583 w 10001"/>
                    <a:gd name="connsiteY11" fmla="*/ 6150 h 10986"/>
                    <a:gd name="connsiteX12" fmla="*/ 1233 w 10001"/>
                    <a:gd name="connsiteY12" fmla="*/ 7914 h 10986"/>
                    <a:gd name="connsiteX13" fmla="*/ 446 w 10001"/>
                    <a:gd name="connsiteY13" fmla="*/ 10911 h 10986"/>
                    <a:gd name="connsiteX14" fmla="*/ 2227 w 10001"/>
                    <a:gd name="connsiteY14" fmla="*/ 10151 h 10986"/>
                    <a:gd name="connsiteX15" fmla="*/ 3181 w 10001"/>
                    <a:gd name="connsiteY15" fmla="*/ 10849 h 10986"/>
                    <a:gd name="connsiteX16" fmla="*/ 4347 w 10001"/>
                    <a:gd name="connsiteY16" fmla="*/ 10000 h 10986"/>
                    <a:gd name="connsiteX17" fmla="*/ 4347 w 10001"/>
                    <a:gd name="connsiteY17" fmla="*/ 10000 h 10986"/>
                    <a:gd name="connsiteX18" fmla="*/ 4737 w 10001"/>
                    <a:gd name="connsiteY18" fmla="*/ 10000 h 10986"/>
                    <a:gd name="connsiteX19" fmla="*/ 4867 w 10001"/>
                    <a:gd name="connsiteY19" fmla="*/ 10000 h 10986"/>
                    <a:gd name="connsiteX20" fmla="*/ 4932 w 10001"/>
                    <a:gd name="connsiteY20" fmla="*/ 10000 h 10986"/>
                    <a:gd name="connsiteX21" fmla="*/ 5321 w 10001"/>
                    <a:gd name="connsiteY21" fmla="*/ 10000 h 10986"/>
                    <a:gd name="connsiteX22" fmla="*/ 5321 w 10001"/>
                    <a:gd name="connsiteY22" fmla="*/ 10000 h 10986"/>
                    <a:gd name="connsiteX23" fmla="*/ 5515 w 10001"/>
                    <a:gd name="connsiteY23" fmla="*/ 10000 h 10986"/>
                    <a:gd name="connsiteX24" fmla="*/ 8372 w 10001"/>
                    <a:gd name="connsiteY24" fmla="*/ 9840 h 10986"/>
                    <a:gd name="connsiteX25" fmla="*/ 9994 w 10001"/>
                    <a:gd name="connsiteY25" fmla="*/ 8503 h 10986"/>
                    <a:gd name="connsiteX26" fmla="*/ 9474 w 10001"/>
                    <a:gd name="connsiteY26" fmla="*/ 7914 h 10986"/>
                    <a:gd name="connsiteX0" fmla="*/ 9474 w 10001"/>
                    <a:gd name="connsiteY0" fmla="*/ 7914 h 11028"/>
                    <a:gd name="connsiteX1" fmla="*/ 8436 w 10001"/>
                    <a:gd name="connsiteY1" fmla="*/ 7914 h 11028"/>
                    <a:gd name="connsiteX2" fmla="*/ 8826 w 10001"/>
                    <a:gd name="connsiteY2" fmla="*/ 6631 h 11028"/>
                    <a:gd name="connsiteX3" fmla="*/ 9085 w 10001"/>
                    <a:gd name="connsiteY3" fmla="*/ 6203 h 11028"/>
                    <a:gd name="connsiteX4" fmla="*/ 9085 w 10001"/>
                    <a:gd name="connsiteY4" fmla="*/ 6150 h 11028"/>
                    <a:gd name="connsiteX5" fmla="*/ 9085 w 10001"/>
                    <a:gd name="connsiteY5" fmla="*/ 6150 h 11028"/>
                    <a:gd name="connsiteX6" fmla="*/ 9409 w 10001"/>
                    <a:gd name="connsiteY6" fmla="*/ 4706 h 11028"/>
                    <a:gd name="connsiteX7" fmla="*/ 7074 w 10001"/>
                    <a:gd name="connsiteY7" fmla="*/ 1497 h 11028"/>
                    <a:gd name="connsiteX8" fmla="*/ 3958 w 10001"/>
                    <a:gd name="connsiteY8" fmla="*/ 0 h 11028"/>
                    <a:gd name="connsiteX9" fmla="*/ 0 w 10001"/>
                    <a:gd name="connsiteY9" fmla="*/ 4064 h 11028"/>
                    <a:gd name="connsiteX10" fmla="*/ 583 w 10001"/>
                    <a:gd name="connsiteY10" fmla="*/ 6150 h 11028"/>
                    <a:gd name="connsiteX11" fmla="*/ 583 w 10001"/>
                    <a:gd name="connsiteY11" fmla="*/ 6150 h 11028"/>
                    <a:gd name="connsiteX12" fmla="*/ 1233 w 10001"/>
                    <a:gd name="connsiteY12" fmla="*/ 7914 h 11028"/>
                    <a:gd name="connsiteX13" fmla="*/ 446 w 10001"/>
                    <a:gd name="connsiteY13" fmla="*/ 10911 h 11028"/>
                    <a:gd name="connsiteX14" fmla="*/ 2227 w 10001"/>
                    <a:gd name="connsiteY14" fmla="*/ 10643 h 11028"/>
                    <a:gd name="connsiteX15" fmla="*/ 3181 w 10001"/>
                    <a:gd name="connsiteY15" fmla="*/ 10849 h 11028"/>
                    <a:gd name="connsiteX16" fmla="*/ 4347 w 10001"/>
                    <a:gd name="connsiteY16" fmla="*/ 10000 h 11028"/>
                    <a:gd name="connsiteX17" fmla="*/ 4347 w 10001"/>
                    <a:gd name="connsiteY17" fmla="*/ 10000 h 11028"/>
                    <a:gd name="connsiteX18" fmla="*/ 4737 w 10001"/>
                    <a:gd name="connsiteY18" fmla="*/ 10000 h 11028"/>
                    <a:gd name="connsiteX19" fmla="*/ 4867 w 10001"/>
                    <a:gd name="connsiteY19" fmla="*/ 10000 h 11028"/>
                    <a:gd name="connsiteX20" fmla="*/ 4932 w 10001"/>
                    <a:gd name="connsiteY20" fmla="*/ 10000 h 11028"/>
                    <a:gd name="connsiteX21" fmla="*/ 5321 w 10001"/>
                    <a:gd name="connsiteY21" fmla="*/ 10000 h 11028"/>
                    <a:gd name="connsiteX22" fmla="*/ 5321 w 10001"/>
                    <a:gd name="connsiteY22" fmla="*/ 10000 h 11028"/>
                    <a:gd name="connsiteX23" fmla="*/ 5515 w 10001"/>
                    <a:gd name="connsiteY23" fmla="*/ 10000 h 11028"/>
                    <a:gd name="connsiteX24" fmla="*/ 8372 w 10001"/>
                    <a:gd name="connsiteY24" fmla="*/ 9840 h 11028"/>
                    <a:gd name="connsiteX25" fmla="*/ 9994 w 10001"/>
                    <a:gd name="connsiteY25" fmla="*/ 8503 h 11028"/>
                    <a:gd name="connsiteX26" fmla="*/ 9474 w 10001"/>
                    <a:gd name="connsiteY26" fmla="*/ 7914 h 1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1" h="11028">
                      <a:moveTo>
                        <a:pt x="9474" y="7914"/>
                      </a:moveTo>
                      <a:cubicBezTo>
                        <a:pt x="9215" y="8449"/>
                        <a:pt x="8631" y="8289"/>
                        <a:pt x="8436" y="7914"/>
                      </a:cubicBezTo>
                      <a:cubicBezTo>
                        <a:pt x="8372" y="7647"/>
                        <a:pt x="8631" y="7059"/>
                        <a:pt x="8826" y="6631"/>
                      </a:cubicBezTo>
                      <a:cubicBezTo>
                        <a:pt x="8955" y="6524"/>
                        <a:pt x="9020" y="6364"/>
                        <a:pt x="9085" y="6203"/>
                      </a:cubicBezTo>
                      <a:lnTo>
                        <a:pt x="9085" y="6150"/>
                      </a:lnTo>
                      <a:lnTo>
                        <a:pt x="9085" y="6150"/>
                      </a:lnTo>
                      <a:cubicBezTo>
                        <a:pt x="9345" y="5722"/>
                        <a:pt x="9409" y="5241"/>
                        <a:pt x="9409" y="4706"/>
                      </a:cubicBezTo>
                      <a:cubicBezTo>
                        <a:pt x="9409" y="3209"/>
                        <a:pt x="8436" y="1925"/>
                        <a:pt x="7074" y="1497"/>
                      </a:cubicBezTo>
                      <a:cubicBezTo>
                        <a:pt x="6360" y="588"/>
                        <a:pt x="5256" y="0"/>
                        <a:pt x="3958" y="0"/>
                      </a:cubicBezTo>
                      <a:cubicBezTo>
                        <a:pt x="1752" y="0"/>
                        <a:pt x="0" y="1818"/>
                        <a:pt x="0" y="4064"/>
                      </a:cubicBezTo>
                      <a:cubicBezTo>
                        <a:pt x="0" y="4866"/>
                        <a:pt x="194" y="5561"/>
                        <a:pt x="583" y="6150"/>
                      </a:cubicBezTo>
                      <a:lnTo>
                        <a:pt x="583" y="6150"/>
                      </a:lnTo>
                      <a:cubicBezTo>
                        <a:pt x="583" y="6150"/>
                        <a:pt x="1121" y="7322"/>
                        <a:pt x="1233" y="7914"/>
                      </a:cubicBezTo>
                      <a:cubicBezTo>
                        <a:pt x="1345" y="8506"/>
                        <a:pt x="280" y="10538"/>
                        <a:pt x="446" y="10911"/>
                      </a:cubicBezTo>
                      <a:cubicBezTo>
                        <a:pt x="612" y="11284"/>
                        <a:pt x="1771" y="10653"/>
                        <a:pt x="2227" y="10643"/>
                      </a:cubicBezTo>
                      <a:cubicBezTo>
                        <a:pt x="2683" y="10633"/>
                        <a:pt x="2828" y="10956"/>
                        <a:pt x="3181" y="10849"/>
                      </a:cubicBezTo>
                      <a:cubicBezTo>
                        <a:pt x="3534" y="10742"/>
                        <a:pt x="4153" y="10142"/>
                        <a:pt x="4347" y="10000"/>
                      </a:cubicBezTo>
                      <a:lnTo>
                        <a:pt x="4347" y="10000"/>
                      </a:lnTo>
                      <a:lnTo>
                        <a:pt x="4737" y="10000"/>
                      </a:lnTo>
                      <a:lnTo>
                        <a:pt x="4867" y="10000"/>
                      </a:lnTo>
                      <a:lnTo>
                        <a:pt x="4932" y="10000"/>
                      </a:lnTo>
                      <a:lnTo>
                        <a:pt x="5321" y="10000"/>
                      </a:lnTo>
                      <a:lnTo>
                        <a:pt x="5321" y="10000"/>
                      </a:lnTo>
                      <a:lnTo>
                        <a:pt x="5515" y="10000"/>
                      </a:lnTo>
                      <a:cubicBezTo>
                        <a:pt x="6489" y="10000"/>
                        <a:pt x="7139" y="10000"/>
                        <a:pt x="8372" y="9840"/>
                      </a:cubicBezTo>
                      <a:cubicBezTo>
                        <a:pt x="9800" y="9679"/>
                        <a:pt x="9994" y="8984"/>
                        <a:pt x="9994" y="8503"/>
                      </a:cubicBezTo>
                      <a:cubicBezTo>
                        <a:pt x="10059" y="8021"/>
                        <a:pt x="9669" y="7326"/>
                        <a:pt x="9474" y="7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8" name="Freeform 117">
                  <a:extLst>
                    <a:ext uri="{FF2B5EF4-FFF2-40B4-BE49-F238E27FC236}">
                      <a16:creationId xmlns:a16="http://schemas.microsoft.com/office/drawing/2014/main" id="{72CF65EA-A261-4820-91AC-D4335FE05799}"/>
                    </a:ext>
                  </a:extLst>
                </p:cNvPr>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49" name="Freeform 118">
                  <a:extLst>
                    <a:ext uri="{FF2B5EF4-FFF2-40B4-BE49-F238E27FC236}">
                      <a16:creationId xmlns:a16="http://schemas.microsoft.com/office/drawing/2014/main" id="{39EA1080-A77D-4ECC-A9D5-56516B42523E}"/>
                    </a:ext>
                  </a:extLst>
                </p:cNvPr>
                <p:cNvSpPr>
                  <a:spLocks/>
                </p:cNvSpPr>
                <p:nvPr/>
              </p:nvSpPr>
              <p:spPr bwMode="auto">
                <a:xfrm>
                  <a:off x="6226575" y="3998585"/>
                  <a:ext cx="98865" cy="579733"/>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0" name="Freeform 119">
                  <a:extLst>
                    <a:ext uri="{FF2B5EF4-FFF2-40B4-BE49-F238E27FC236}">
                      <a16:creationId xmlns:a16="http://schemas.microsoft.com/office/drawing/2014/main" id="{E1ACA556-28B8-45CF-81B2-897609273A18}"/>
                    </a:ext>
                  </a:extLst>
                </p:cNvPr>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1" name="Freeform 120">
                  <a:extLst>
                    <a:ext uri="{FF2B5EF4-FFF2-40B4-BE49-F238E27FC236}">
                      <a16:creationId xmlns:a16="http://schemas.microsoft.com/office/drawing/2014/main" id="{DD146800-42EB-42C3-8DE3-45BE04E85F5A}"/>
                    </a:ext>
                  </a:extLst>
                </p:cNvPr>
                <p:cNvSpPr>
                  <a:spLocks/>
                </p:cNvSpPr>
                <p:nvPr/>
              </p:nvSpPr>
              <p:spPr bwMode="auto">
                <a:xfrm>
                  <a:off x="6325440" y="3998585"/>
                  <a:ext cx="96667" cy="579733"/>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2" name="Freeform 121">
                  <a:extLst>
                    <a:ext uri="{FF2B5EF4-FFF2-40B4-BE49-F238E27FC236}">
                      <a16:creationId xmlns:a16="http://schemas.microsoft.com/office/drawing/2014/main" id="{AE3657A3-0098-4289-85D2-4300D6ED540E}"/>
                    </a:ext>
                  </a:extLst>
                </p:cNvPr>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3" name="Freeform 122">
                  <a:extLst>
                    <a:ext uri="{FF2B5EF4-FFF2-40B4-BE49-F238E27FC236}">
                      <a16:creationId xmlns:a16="http://schemas.microsoft.com/office/drawing/2014/main" id="{14E62F26-15AF-4137-B927-494D8020F6B9}"/>
                    </a:ext>
                  </a:extLst>
                </p:cNvPr>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4" name="Freeform 125">
                  <a:extLst>
                    <a:ext uri="{FF2B5EF4-FFF2-40B4-BE49-F238E27FC236}">
                      <a16:creationId xmlns:a16="http://schemas.microsoft.com/office/drawing/2014/main" id="{3507E445-87CC-40CE-BF70-0AF315692652}"/>
                    </a:ext>
                  </a:extLst>
                </p:cNvPr>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5" name="Freeform 126">
                  <a:extLst>
                    <a:ext uri="{FF2B5EF4-FFF2-40B4-BE49-F238E27FC236}">
                      <a16:creationId xmlns:a16="http://schemas.microsoft.com/office/drawing/2014/main" id="{C41004FB-0843-4AFB-AB7D-E872653B781D}"/>
                    </a:ext>
                  </a:extLst>
                </p:cNvPr>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6" name="Freeform 127">
                  <a:extLst>
                    <a:ext uri="{FF2B5EF4-FFF2-40B4-BE49-F238E27FC236}">
                      <a16:creationId xmlns:a16="http://schemas.microsoft.com/office/drawing/2014/main" id="{A732A28F-DA7F-4D37-B6D0-C514945E6652}"/>
                    </a:ext>
                  </a:extLst>
                </p:cNvPr>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7" name="Freeform 128">
                  <a:extLst>
                    <a:ext uri="{FF2B5EF4-FFF2-40B4-BE49-F238E27FC236}">
                      <a16:creationId xmlns:a16="http://schemas.microsoft.com/office/drawing/2014/main" id="{C59D9861-9DE2-4295-89AB-73CFDDF729F2}"/>
                    </a:ext>
                  </a:extLst>
                </p:cNvPr>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8" name="Freeform 129">
                  <a:extLst>
                    <a:ext uri="{FF2B5EF4-FFF2-40B4-BE49-F238E27FC236}">
                      <a16:creationId xmlns:a16="http://schemas.microsoft.com/office/drawing/2014/main" id="{5AF944F0-90B9-4521-9456-534D11EA30AD}"/>
                    </a:ext>
                  </a:extLst>
                </p:cNvPr>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9" name="Freeform 130">
                  <a:extLst>
                    <a:ext uri="{FF2B5EF4-FFF2-40B4-BE49-F238E27FC236}">
                      <a16:creationId xmlns:a16="http://schemas.microsoft.com/office/drawing/2014/main" id="{5F5DD575-4C3E-47D7-89E4-26383321E154}"/>
                    </a:ext>
                  </a:extLst>
                </p:cNvPr>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0" name="Freeform 131">
                  <a:extLst>
                    <a:ext uri="{FF2B5EF4-FFF2-40B4-BE49-F238E27FC236}">
                      <a16:creationId xmlns:a16="http://schemas.microsoft.com/office/drawing/2014/main" id="{B8753E89-D323-48E3-9C4A-AEE748C3E60C}"/>
                    </a:ext>
                  </a:extLst>
                </p:cNvPr>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1" name="Freeform 132">
                  <a:extLst>
                    <a:ext uri="{FF2B5EF4-FFF2-40B4-BE49-F238E27FC236}">
                      <a16:creationId xmlns:a16="http://schemas.microsoft.com/office/drawing/2014/main" id="{FC57BF7C-47D5-4946-96C6-943B219BDDC3}"/>
                    </a:ext>
                  </a:extLst>
                </p:cNvPr>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2" name="Freeform 133">
                  <a:extLst>
                    <a:ext uri="{FF2B5EF4-FFF2-40B4-BE49-F238E27FC236}">
                      <a16:creationId xmlns:a16="http://schemas.microsoft.com/office/drawing/2014/main" id="{4BF6A316-6934-46C8-B5C4-26BC582DC95C}"/>
                    </a:ext>
                  </a:extLst>
                </p:cNvPr>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3" name="Freeform 134">
                  <a:extLst>
                    <a:ext uri="{FF2B5EF4-FFF2-40B4-BE49-F238E27FC236}">
                      <a16:creationId xmlns:a16="http://schemas.microsoft.com/office/drawing/2014/main" id="{65779900-3674-4DC4-B8E8-1183695FF1A3}"/>
                    </a:ext>
                  </a:extLst>
                </p:cNvPr>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4" name="Freeform 135">
                  <a:extLst>
                    <a:ext uri="{FF2B5EF4-FFF2-40B4-BE49-F238E27FC236}">
                      <a16:creationId xmlns:a16="http://schemas.microsoft.com/office/drawing/2014/main" id="{C1B40A4B-0D5A-465E-BB00-88319D5AAE47}"/>
                    </a:ext>
                  </a:extLst>
                </p:cNvPr>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5" name="Freeform 136">
                  <a:extLst>
                    <a:ext uri="{FF2B5EF4-FFF2-40B4-BE49-F238E27FC236}">
                      <a16:creationId xmlns:a16="http://schemas.microsoft.com/office/drawing/2014/main" id="{E32D15F0-251E-495D-B0AD-2C84EBD365BA}"/>
                    </a:ext>
                  </a:extLst>
                </p:cNvPr>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6" name="Freeform 137">
                  <a:extLst>
                    <a:ext uri="{FF2B5EF4-FFF2-40B4-BE49-F238E27FC236}">
                      <a16:creationId xmlns:a16="http://schemas.microsoft.com/office/drawing/2014/main" id="{EE91342B-55C3-4C68-ACD3-53E4480D0B01}"/>
                    </a:ext>
                  </a:extLst>
                </p:cNvPr>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7" name="Freeform 138">
                  <a:extLst>
                    <a:ext uri="{FF2B5EF4-FFF2-40B4-BE49-F238E27FC236}">
                      <a16:creationId xmlns:a16="http://schemas.microsoft.com/office/drawing/2014/main" id="{BCA18859-FA9D-43CF-941A-654DE75D3910}"/>
                    </a:ext>
                  </a:extLst>
                </p:cNvPr>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8" name="Oval 170">
                  <a:extLst>
                    <a:ext uri="{FF2B5EF4-FFF2-40B4-BE49-F238E27FC236}">
                      <a16:creationId xmlns:a16="http://schemas.microsoft.com/office/drawing/2014/main" id="{5E0A158E-090A-45DC-A06A-3DE64CD0650D}"/>
                    </a:ext>
                  </a:extLst>
                </p:cNvPr>
                <p:cNvSpPr>
                  <a:spLocks noChangeArrowheads="1"/>
                </p:cNvSpPr>
                <p:nvPr/>
              </p:nvSpPr>
              <p:spPr bwMode="auto">
                <a:xfrm>
                  <a:off x="6263181" y="3486117"/>
                  <a:ext cx="3175"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69" name="Oval 171">
                  <a:extLst>
                    <a:ext uri="{FF2B5EF4-FFF2-40B4-BE49-F238E27FC236}">
                      <a16:creationId xmlns:a16="http://schemas.microsoft.com/office/drawing/2014/main" id="{751D15B2-0026-4845-8AEF-CDEF963BA902}"/>
                    </a:ext>
                  </a:extLst>
                </p:cNvPr>
                <p:cNvSpPr>
                  <a:spLocks noChangeArrowheads="1"/>
                </p:cNvSpPr>
                <p:nvPr/>
              </p:nvSpPr>
              <p:spPr bwMode="auto">
                <a:xfrm>
                  <a:off x="6385419" y="3486117"/>
                  <a:ext cx="4763"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grpSp>
        <p:nvGrpSpPr>
          <p:cNvPr id="370" name="Group 369">
            <a:extLst>
              <a:ext uri="{FF2B5EF4-FFF2-40B4-BE49-F238E27FC236}">
                <a16:creationId xmlns:a16="http://schemas.microsoft.com/office/drawing/2014/main" id="{A856362E-778B-4A80-9B8A-7C8D99539854}"/>
              </a:ext>
            </a:extLst>
          </p:cNvPr>
          <p:cNvGrpSpPr/>
          <p:nvPr/>
        </p:nvGrpSpPr>
        <p:grpSpPr>
          <a:xfrm>
            <a:off x="3170226" y="3769092"/>
            <a:ext cx="1495768" cy="4027074"/>
            <a:chOff x="4763661" y="2954623"/>
            <a:chExt cx="1015788" cy="2734817"/>
          </a:xfrm>
          <a:solidFill>
            <a:schemeClr val="accent1"/>
          </a:solidFill>
        </p:grpSpPr>
        <p:sp>
          <p:nvSpPr>
            <p:cNvPr id="371" name="Rectangle 3">
              <a:extLst>
                <a:ext uri="{FF2B5EF4-FFF2-40B4-BE49-F238E27FC236}">
                  <a16:creationId xmlns:a16="http://schemas.microsoft.com/office/drawing/2014/main" id="{E549B815-49D9-4026-AD66-F340AE6038D5}"/>
                </a:ext>
              </a:extLst>
            </p:cNvPr>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2" name="Group 371">
              <a:extLst>
                <a:ext uri="{FF2B5EF4-FFF2-40B4-BE49-F238E27FC236}">
                  <a16:creationId xmlns:a16="http://schemas.microsoft.com/office/drawing/2014/main" id="{42091FD7-0895-4783-AAC4-705947C9ED0E}"/>
                </a:ext>
              </a:extLst>
            </p:cNvPr>
            <p:cNvGrpSpPr/>
            <p:nvPr/>
          </p:nvGrpSpPr>
          <p:grpSpPr>
            <a:xfrm>
              <a:off x="4763661" y="2954623"/>
              <a:ext cx="1015788" cy="2734817"/>
              <a:chOff x="5166219" y="3359117"/>
              <a:chExt cx="454025" cy="1222376"/>
            </a:xfrm>
            <a:grpFill/>
          </p:grpSpPr>
          <p:sp>
            <p:nvSpPr>
              <p:cNvPr id="373" name="Freeform 140">
                <a:extLst>
                  <a:ext uri="{FF2B5EF4-FFF2-40B4-BE49-F238E27FC236}">
                    <a16:creationId xmlns:a16="http://schemas.microsoft.com/office/drawing/2014/main" id="{998874DA-B505-4F87-81AD-15AAE5742102}"/>
                  </a:ext>
                </a:extLst>
              </p:cNvPr>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4" name="Freeform 141">
                <a:extLst>
                  <a:ext uri="{FF2B5EF4-FFF2-40B4-BE49-F238E27FC236}">
                    <a16:creationId xmlns:a16="http://schemas.microsoft.com/office/drawing/2014/main" id="{175344A3-4FC4-4B6C-969F-3C4C179C7338}"/>
                  </a:ext>
                </a:extLst>
              </p:cNvPr>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5" name="Freeform 142">
                <a:extLst>
                  <a:ext uri="{FF2B5EF4-FFF2-40B4-BE49-F238E27FC236}">
                    <a16:creationId xmlns:a16="http://schemas.microsoft.com/office/drawing/2014/main" id="{DAEB293E-F04A-4DEF-88A6-6F0EDD00CEF5}"/>
                  </a:ext>
                </a:extLst>
              </p:cNvPr>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6" name="Freeform 143">
                <a:extLst>
                  <a:ext uri="{FF2B5EF4-FFF2-40B4-BE49-F238E27FC236}">
                    <a16:creationId xmlns:a16="http://schemas.microsoft.com/office/drawing/2014/main" id="{B9903DCB-3BA6-48F9-9E61-82B82E12430D}"/>
                  </a:ext>
                </a:extLst>
              </p:cNvPr>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7" name="Freeform 144">
                <a:extLst>
                  <a:ext uri="{FF2B5EF4-FFF2-40B4-BE49-F238E27FC236}">
                    <a16:creationId xmlns:a16="http://schemas.microsoft.com/office/drawing/2014/main" id="{6A13986D-104B-44B5-82CA-D938DDD70350}"/>
                  </a:ext>
                </a:extLst>
              </p:cNvPr>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8" name="Freeform 145">
                <a:extLst>
                  <a:ext uri="{FF2B5EF4-FFF2-40B4-BE49-F238E27FC236}">
                    <a16:creationId xmlns:a16="http://schemas.microsoft.com/office/drawing/2014/main" id="{1D7AC56B-164D-4AFB-857B-1F4B6184218F}"/>
                  </a:ext>
                </a:extLst>
              </p:cNvPr>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79" name="Freeform 146">
                <a:extLst>
                  <a:ext uri="{FF2B5EF4-FFF2-40B4-BE49-F238E27FC236}">
                    <a16:creationId xmlns:a16="http://schemas.microsoft.com/office/drawing/2014/main" id="{FFB81F3B-21F4-424F-854A-0B043783B461}"/>
                  </a:ext>
                </a:extLst>
              </p:cNvPr>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0" name="Freeform 147">
                <a:extLst>
                  <a:ext uri="{FF2B5EF4-FFF2-40B4-BE49-F238E27FC236}">
                    <a16:creationId xmlns:a16="http://schemas.microsoft.com/office/drawing/2014/main" id="{9434CC69-D2E9-49D0-8104-876C1979AF5C}"/>
                  </a:ext>
                </a:extLst>
              </p:cNvPr>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1" name="Freeform 148">
                <a:extLst>
                  <a:ext uri="{FF2B5EF4-FFF2-40B4-BE49-F238E27FC236}">
                    <a16:creationId xmlns:a16="http://schemas.microsoft.com/office/drawing/2014/main" id="{A436A825-BE51-42BB-A5D5-A531ADC77A05}"/>
                  </a:ext>
                </a:extLst>
              </p:cNvPr>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2" name="Freeform 149">
                <a:extLst>
                  <a:ext uri="{FF2B5EF4-FFF2-40B4-BE49-F238E27FC236}">
                    <a16:creationId xmlns:a16="http://schemas.microsoft.com/office/drawing/2014/main" id="{91385FC3-11EF-4063-850A-B111D20E2FF1}"/>
                  </a:ext>
                </a:extLst>
              </p:cNvPr>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3" name="Freeform 150">
                <a:extLst>
                  <a:ext uri="{FF2B5EF4-FFF2-40B4-BE49-F238E27FC236}">
                    <a16:creationId xmlns:a16="http://schemas.microsoft.com/office/drawing/2014/main" id="{3B71123A-73C1-492C-AC45-4EA20C676623}"/>
                  </a:ext>
                </a:extLst>
              </p:cNvPr>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4" name="Freeform 151">
                <a:extLst>
                  <a:ext uri="{FF2B5EF4-FFF2-40B4-BE49-F238E27FC236}">
                    <a16:creationId xmlns:a16="http://schemas.microsoft.com/office/drawing/2014/main" id="{059E09AC-A215-40F8-895B-70F96BA64E67}"/>
                  </a:ext>
                </a:extLst>
              </p:cNvPr>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5" name="Freeform 152">
                <a:extLst>
                  <a:ext uri="{FF2B5EF4-FFF2-40B4-BE49-F238E27FC236}">
                    <a16:creationId xmlns:a16="http://schemas.microsoft.com/office/drawing/2014/main" id="{1F222E2A-BABD-4AAB-81C8-D00816AAA57B}"/>
                  </a:ext>
                </a:extLst>
              </p:cNvPr>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6" name="Freeform 153">
                <a:extLst>
                  <a:ext uri="{FF2B5EF4-FFF2-40B4-BE49-F238E27FC236}">
                    <a16:creationId xmlns:a16="http://schemas.microsoft.com/office/drawing/2014/main" id="{9B2B0113-D733-4E82-9911-9B9DBD9924EB}"/>
                  </a:ext>
                </a:extLst>
              </p:cNvPr>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7" name="Freeform 154">
                <a:extLst>
                  <a:ext uri="{FF2B5EF4-FFF2-40B4-BE49-F238E27FC236}">
                    <a16:creationId xmlns:a16="http://schemas.microsoft.com/office/drawing/2014/main" id="{6BF13402-3A69-4644-AA0E-0E0280A0F627}"/>
                  </a:ext>
                </a:extLst>
              </p:cNvPr>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8" name="Freeform 155">
                <a:extLst>
                  <a:ext uri="{FF2B5EF4-FFF2-40B4-BE49-F238E27FC236}">
                    <a16:creationId xmlns:a16="http://schemas.microsoft.com/office/drawing/2014/main" id="{8F41A8B2-854B-406B-8CC8-AF988E296AAD}"/>
                  </a:ext>
                </a:extLst>
              </p:cNvPr>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89" name="Freeform 156">
                <a:extLst>
                  <a:ext uri="{FF2B5EF4-FFF2-40B4-BE49-F238E27FC236}">
                    <a16:creationId xmlns:a16="http://schemas.microsoft.com/office/drawing/2014/main" id="{08066EBC-3397-4AE6-8739-DD9596ECB56A}"/>
                  </a:ext>
                </a:extLst>
              </p:cNvPr>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0" name="Freeform 157">
                <a:extLst>
                  <a:ext uri="{FF2B5EF4-FFF2-40B4-BE49-F238E27FC236}">
                    <a16:creationId xmlns:a16="http://schemas.microsoft.com/office/drawing/2014/main" id="{309AF1C4-6475-49BE-A19E-28C7E0F3E7B1}"/>
                  </a:ext>
                </a:extLst>
              </p:cNvPr>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1" name="Freeform 158">
                <a:extLst>
                  <a:ext uri="{FF2B5EF4-FFF2-40B4-BE49-F238E27FC236}">
                    <a16:creationId xmlns:a16="http://schemas.microsoft.com/office/drawing/2014/main" id="{A8F7E8DE-2E19-4143-BACD-354F106A919B}"/>
                  </a:ext>
                </a:extLst>
              </p:cNvPr>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2" name="Freeform 159">
                <a:extLst>
                  <a:ext uri="{FF2B5EF4-FFF2-40B4-BE49-F238E27FC236}">
                    <a16:creationId xmlns:a16="http://schemas.microsoft.com/office/drawing/2014/main" id="{E679286F-7713-4CD7-B3F7-D522764CA74E}"/>
                  </a:ext>
                </a:extLst>
              </p:cNvPr>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3" name="Freeform 160">
                <a:extLst>
                  <a:ext uri="{FF2B5EF4-FFF2-40B4-BE49-F238E27FC236}">
                    <a16:creationId xmlns:a16="http://schemas.microsoft.com/office/drawing/2014/main" id="{DF7D9D17-6F1A-4C58-8EB8-D8C4D693A41E}"/>
                  </a:ext>
                </a:extLst>
              </p:cNvPr>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4" name="Freeform 161">
                <a:extLst>
                  <a:ext uri="{FF2B5EF4-FFF2-40B4-BE49-F238E27FC236}">
                    <a16:creationId xmlns:a16="http://schemas.microsoft.com/office/drawing/2014/main" id="{55B8DCFD-BDCA-426B-A4C0-089DAE7B2E93}"/>
                  </a:ext>
                </a:extLst>
              </p:cNvPr>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5" name="Freeform 162">
                <a:extLst>
                  <a:ext uri="{FF2B5EF4-FFF2-40B4-BE49-F238E27FC236}">
                    <a16:creationId xmlns:a16="http://schemas.microsoft.com/office/drawing/2014/main" id="{AB0C0027-0548-4E32-8DB0-3077A30583EC}"/>
                  </a:ext>
                </a:extLst>
              </p:cNvPr>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6" name="Freeform 163">
                <a:extLst>
                  <a:ext uri="{FF2B5EF4-FFF2-40B4-BE49-F238E27FC236}">
                    <a16:creationId xmlns:a16="http://schemas.microsoft.com/office/drawing/2014/main" id="{3C20C304-1936-4345-94B3-480A1D84FD86}"/>
                  </a:ext>
                </a:extLst>
              </p:cNvPr>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7" name="Freeform 164">
                <a:extLst>
                  <a:ext uri="{FF2B5EF4-FFF2-40B4-BE49-F238E27FC236}">
                    <a16:creationId xmlns:a16="http://schemas.microsoft.com/office/drawing/2014/main" id="{17DF1AE0-BAAA-4C37-A6C2-C4152224547E}"/>
                  </a:ext>
                </a:extLst>
              </p:cNvPr>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98" name="Freeform 165">
                <a:extLst>
                  <a:ext uri="{FF2B5EF4-FFF2-40B4-BE49-F238E27FC236}">
                    <a16:creationId xmlns:a16="http://schemas.microsoft.com/office/drawing/2014/main" id="{CD53E227-7CE1-484A-AE60-3A01CC84BB4B}"/>
                  </a:ext>
                </a:extLst>
              </p:cNvPr>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99" name="Freeform 111">
            <a:extLst>
              <a:ext uri="{FF2B5EF4-FFF2-40B4-BE49-F238E27FC236}">
                <a16:creationId xmlns:a16="http://schemas.microsoft.com/office/drawing/2014/main" id="{F6ED7253-7EC2-4B08-AE94-6914B4EF8802}"/>
              </a:ext>
            </a:extLst>
          </p:cNvPr>
          <p:cNvSpPr>
            <a:spLocks/>
          </p:cNvSpPr>
          <p:nvPr/>
        </p:nvSpPr>
        <p:spPr bwMode="auto">
          <a:xfrm>
            <a:off x="8191396" y="3859890"/>
            <a:ext cx="1716959" cy="388513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0" name="Freeform 113">
            <a:extLst>
              <a:ext uri="{FF2B5EF4-FFF2-40B4-BE49-F238E27FC236}">
                <a16:creationId xmlns:a16="http://schemas.microsoft.com/office/drawing/2014/main" id="{4624362B-C851-41FD-97D9-0968D4CB3465}"/>
              </a:ext>
            </a:extLst>
          </p:cNvPr>
          <p:cNvSpPr>
            <a:spLocks/>
          </p:cNvSpPr>
          <p:nvPr/>
        </p:nvSpPr>
        <p:spPr bwMode="auto">
          <a:xfrm>
            <a:off x="7239189" y="3530361"/>
            <a:ext cx="1305452" cy="3903921"/>
          </a:xfrm>
          <a:custGeom>
            <a:avLst/>
            <a:gdLst>
              <a:gd name="T0" fmla="*/ 230 w 279"/>
              <a:gd name="T1" fmla="*/ 169 h 833"/>
              <a:gd name="T2" fmla="*/ 166 w 279"/>
              <a:gd name="T3" fmla="*/ 162 h 833"/>
              <a:gd name="T4" fmla="*/ 160 w 279"/>
              <a:gd name="T5" fmla="*/ 156 h 833"/>
              <a:gd name="T6" fmla="*/ 209 w 279"/>
              <a:gd name="T7" fmla="*/ 133 h 833"/>
              <a:gd name="T8" fmla="*/ 189 w 279"/>
              <a:gd name="T9" fmla="*/ 123 h 833"/>
              <a:gd name="T10" fmla="*/ 197 w 279"/>
              <a:gd name="T11" fmla="*/ 97 h 833"/>
              <a:gd name="T12" fmla="*/ 197 w 279"/>
              <a:gd name="T13" fmla="*/ 96 h 833"/>
              <a:gd name="T14" fmla="*/ 172 w 279"/>
              <a:gd name="T15" fmla="*/ 24 h 833"/>
              <a:gd name="T16" fmla="*/ 81 w 279"/>
              <a:gd name="T17" fmla="*/ 64 h 833"/>
              <a:gd name="T18" fmla="*/ 88 w 279"/>
              <a:gd name="T19" fmla="*/ 96 h 833"/>
              <a:gd name="T20" fmla="*/ 84 w 279"/>
              <a:gd name="T21" fmla="*/ 123 h 833"/>
              <a:gd name="T22" fmla="*/ 98 w 279"/>
              <a:gd name="T23" fmla="*/ 153 h 833"/>
              <a:gd name="T24" fmla="*/ 122 w 279"/>
              <a:gd name="T25" fmla="*/ 162 h 833"/>
              <a:gd name="T26" fmla="*/ 51 w 279"/>
              <a:gd name="T27" fmla="*/ 169 h 833"/>
              <a:gd name="T28" fmla="*/ 51 w 279"/>
              <a:gd name="T29" fmla="*/ 169 h 833"/>
              <a:gd name="T30" fmla="*/ 5 w 279"/>
              <a:gd name="T31" fmla="*/ 383 h 833"/>
              <a:gd name="T32" fmla="*/ 18 w 279"/>
              <a:gd name="T33" fmla="*/ 411 h 833"/>
              <a:gd name="T34" fmla="*/ 31 w 279"/>
              <a:gd name="T35" fmla="*/ 383 h 833"/>
              <a:gd name="T36" fmla="*/ 56 w 279"/>
              <a:gd name="T37" fmla="*/ 258 h 833"/>
              <a:gd name="T38" fmla="*/ 65 w 279"/>
              <a:gd name="T39" fmla="*/ 629 h 833"/>
              <a:gd name="T40" fmla="*/ 96 w 279"/>
              <a:gd name="T41" fmla="*/ 820 h 833"/>
              <a:gd name="T42" fmla="*/ 97 w 279"/>
              <a:gd name="T43" fmla="*/ 833 h 833"/>
              <a:gd name="T44" fmla="*/ 138 w 279"/>
              <a:gd name="T45" fmla="*/ 833 h 833"/>
              <a:gd name="T46" fmla="*/ 138 w 279"/>
              <a:gd name="T47" fmla="*/ 629 h 833"/>
              <a:gd name="T48" fmla="*/ 153 w 279"/>
              <a:gd name="T49" fmla="*/ 820 h 833"/>
              <a:gd name="T50" fmla="*/ 154 w 279"/>
              <a:gd name="T51" fmla="*/ 833 h 833"/>
              <a:gd name="T52" fmla="*/ 195 w 279"/>
              <a:gd name="T53" fmla="*/ 833 h 833"/>
              <a:gd name="T54" fmla="*/ 195 w 279"/>
              <a:gd name="T55" fmla="*/ 629 h 833"/>
              <a:gd name="T56" fmla="*/ 216 w 279"/>
              <a:gd name="T57" fmla="*/ 438 h 833"/>
              <a:gd name="T58" fmla="*/ 245 w 279"/>
              <a:gd name="T59" fmla="*/ 383 h 833"/>
              <a:gd name="T60" fmla="*/ 249 w 279"/>
              <a:gd name="T61" fmla="*/ 398 h 833"/>
              <a:gd name="T62" fmla="*/ 274 w 279"/>
              <a:gd name="T63" fmla="*/ 398 h 833"/>
              <a:gd name="T64" fmla="*/ 279 w 279"/>
              <a:gd name="T65" fmla="*/ 38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833">
                <a:moveTo>
                  <a:pt x="230" y="169"/>
                </a:moveTo>
                <a:cubicBezTo>
                  <a:pt x="230" y="169"/>
                  <a:pt x="230" y="169"/>
                  <a:pt x="230" y="169"/>
                </a:cubicBezTo>
                <a:cubicBezTo>
                  <a:pt x="166" y="162"/>
                  <a:pt x="166" y="162"/>
                  <a:pt x="166" y="162"/>
                </a:cubicBezTo>
                <a:cubicBezTo>
                  <a:pt x="166" y="162"/>
                  <a:pt x="166" y="162"/>
                  <a:pt x="166" y="162"/>
                </a:cubicBezTo>
                <a:cubicBezTo>
                  <a:pt x="159" y="162"/>
                  <a:pt x="159" y="162"/>
                  <a:pt x="159" y="162"/>
                </a:cubicBezTo>
                <a:cubicBezTo>
                  <a:pt x="160" y="156"/>
                  <a:pt x="160" y="156"/>
                  <a:pt x="160" y="156"/>
                </a:cubicBezTo>
                <a:cubicBezTo>
                  <a:pt x="168" y="156"/>
                  <a:pt x="176" y="155"/>
                  <a:pt x="188" y="153"/>
                </a:cubicBezTo>
                <a:cubicBezTo>
                  <a:pt x="206" y="150"/>
                  <a:pt x="208" y="140"/>
                  <a:pt x="209" y="133"/>
                </a:cubicBezTo>
                <a:cubicBezTo>
                  <a:pt x="210" y="125"/>
                  <a:pt x="205" y="114"/>
                  <a:pt x="202" y="123"/>
                </a:cubicBezTo>
                <a:cubicBezTo>
                  <a:pt x="199" y="132"/>
                  <a:pt x="191" y="129"/>
                  <a:pt x="189" y="123"/>
                </a:cubicBezTo>
                <a:cubicBezTo>
                  <a:pt x="188" y="119"/>
                  <a:pt x="191" y="110"/>
                  <a:pt x="194" y="103"/>
                </a:cubicBezTo>
                <a:cubicBezTo>
                  <a:pt x="195" y="101"/>
                  <a:pt x="196" y="99"/>
                  <a:pt x="197" y="97"/>
                </a:cubicBezTo>
                <a:cubicBezTo>
                  <a:pt x="197" y="96"/>
                  <a:pt x="197" y="96"/>
                  <a:pt x="197" y="96"/>
                </a:cubicBezTo>
                <a:cubicBezTo>
                  <a:pt x="197" y="96"/>
                  <a:pt x="197" y="96"/>
                  <a:pt x="197" y="96"/>
                </a:cubicBezTo>
                <a:cubicBezTo>
                  <a:pt x="200" y="89"/>
                  <a:pt x="201" y="82"/>
                  <a:pt x="201" y="74"/>
                </a:cubicBezTo>
                <a:cubicBezTo>
                  <a:pt x="201" y="50"/>
                  <a:pt x="189" y="30"/>
                  <a:pt x="172" y="24"/>
                </a:cubicBezTo>
                <a:cubicBezTo>
                  <a:pt x="162" y="9"/>
                  <a:pt x="148" y="0"/>
                  <a:pt x="132" y="0"/>
                </a:cubicBezTo>
                <a:cubicBezTo>
                  <a:pt x="104" y="0"/>
                  <a:pt x="81" y="29"/>
                  <a:pt x="81" y="64"/>
                </a:cubicBezTo>
                <a:cubicBezTo>
                  <a:pt x="81" y="76"/>
                  <a:pt x="83" y="87"/>
                  <a:pt x="88" y="96"/>
                </a:cubicBezTo>
                <a:cubicBezTo>
                  <a:pt x="88" y="96"/>
                  <a:pt x="88" y="96"/>
                  <a:pt x="88" y="96"/>
                </a:cubicBezTo>
                <a:cubicBezTo>
                  <a:pt x="88" y="96"/>
                  <a:pt x="99" y="117"/>
                  <a:pt x="96" y="123"/>
                </a:cubicBezTo>
                <a:cubicBezTo>
                  <a:pt x="94" y="129"/>
                  <a:pt x="87" y="132"/>
                  <a:pt x="84" y="123"/>
                </a:cubicBezTo>
                <a:cubicBezTo>
                  <a:pt x="80" y="114"/>
                  <a:pt x="76" y="125"/>
                  <a:pt x="76" y="133"/>
                </a:cubicBezTo>
                <a:cubicBezTo>
                  <a:pt x="77" y="140"/>
                  <a:pt x="79" y="150"/>
                  <a:pt x="98" y="153"/>
                </a:cubicBezTo>
                <a:cubicBezTo>
                  <a:pt x="107" y="155"/>
                  <a:pt x="114" y="156"/>
                  <a:pt x="121" y="156"/>
                </a:cubicBezTo>
                <a:cubicBezTo>
                  <a:pt x="122" y="162"/>
                  <a:pt x="122" y="162"/>
                  <a:pt x="122" y="162"/>
                </a:cubicBezTo>
                <a:cubicBezTo>
                  <a:pt x="115" y="162"/>
                  <a:pt x="115" y="162"/>
                  <a:pt x="115" y="162"/>
                </a:cubicBezTo>
                <a:cubicBezTo>
                  <a:pt x="51" y="169"/>
                  <a:pt x="51" y="169"/>
                  <a:pt x="51" y="169"/>
                </a:cubicBezTo>
                <a:cubicBezTo>
                  <a:pt x="51" y="169"/>
                  <a:pt x="51" y="169"/>
                  <a:pt x="51" y="169"/>
                </a:cubicBezTo>
                <a:cubicBezTo>
                  <a:pt x="51" y="169"/>
                  <a:pt x="51" y="169"/>
                  <a:pt x="51" y="169"/>
                </a:cubicBezTo>
                <a:cubicBezTo>
                  <a:pt x="18" y="238"/>
                  <a:pt x="8" y="307"/>
                  <a:pt x="0" y="383"/>
                </a:cubicBezTo>
                <a:cubicBezTo>
                  <a:pt x="5" y="383"/>
                  <a:pt x="5" y="383"/>
                  <a:pt x="5" y="383"/>
                </a:cubicBezTo>
                <a:cubicBezTo>
                  <a:pt x="5" y="398"/>
                  <a:pt x="5" y="398"/>
                  <a:pt x="5" y="398"/>
                </a:cubicBezTo>
                <a:cubicBezTo>
                  <a:pt x="5" y="405"/>
                  <a:pt x="11" y="411"/>
                  <a:pt x="18" y="411"/>
                </a:cubicBezTo>
                <a:cubicBezTo>
                  <a:pt x="25" y="411"/>
                  <a:pt x="31" y="405"/>
                  <a:pt x="31" y="398"/>
                </a:cubicBezTo>
                <a:cubicBezTo>
                  <a:pt x="31" y="383"/>
                  <a:pt x="31" y="383"/>
                  <a:pt x="31" y="383"/>
                </a:cubicBezTo>
                <a:cubicBezTo>
                  <a:pt x="35" y="383"/>
                  <a:pt x="35" y="383"/>
                  <a:pt x="35" y="383"/>
                </a:cubicBezTo>
                <a:cubicBezTo>
                  <a:pt x="40" y="339"/>
                  <a:pt x="46" y="298"/>
                  <a:pt x="56" y="258"/>
                </a:cubicBezTo>
                <a:cubicBezTo>
                  <a:pt x="65" y="438"/>
                  <a:pt x="65" y="438"/>
                  <a:pt x="65" y="438"/>
                </a:cubicBezTo>
                <a:cubicBezTo>
                  <a:pt x="65" y="629"/>
                  <a:pt x="65" y="629"/>
                  <a:pt x="65" y="629"/>
                </a:cubicBezTo>
                <a:cubicBezTo>
                  <a:pt x="91" y="629"/>
                  <a:pt x="91" y="629"/>
                  <a:pt x="91" y="629"/>
                </a:cubicBezTo>
                <a:cubicBezTo>
                  <a:pt x="96" y="820"/>
                  <a:pt x="96" y="820"/>
                  <a:pt x="96" y="820"/>
                </a:cubicBezTo>
                <a:cubicBezTo>
                  <a:pt x="93" y="823"/>
                  <a:pt x="92" y="828"/>
                  <a:pt x="92" y="833"/>
                </a:cubicBezTo>
                <a:cubicBezTo>
                  <a:pt x="97" y="833"/>
                  <a:pt x="97" y="833"/>
                  <a:pt x="97" y="833"/>
                </a:cubicBezTo>
                <a:cubicBezTo>
                  <a:pt x="133" y="833"/>
                  <a:pt x="133" y="833"/>
                  <a:pt x="133" y="833"/>
                </a:cubicBezTo>
                <a:cubicBezTo>
                  <a:pt x="138" y="833"/>
                  <a:pt x="138" y="833"/>
                  <a:pt x="138" y="833"/>
                </a:cubicBezTo>
                <a:cubicBezTo>
                  <a:pt x="138" y="828"/>
                  <a:pt x="136" y="823"/>
                  <a:pt x="133" y="820"/>
                </a:cubicBezTo>
                <a:cubicBezTo>
                  <a:pt x="138" y="629"/>
                  <a:pt x="138" y="629"/>
                  <a:pt x="138" y="629"/>
                </a:cubicBezTo>
                <a:cubicBezTo>
                  <a:pt x="149" y="629"/>
                  <a:pt x="149" y="629"/>
                  <a:pt x="149" y="629"/>
                </a:cubicBezTo>
                <a:cubicBezTo>
                  <a:pt x="153" y="820"/>
                  <a:pt x="153" y="820"/>
                  <a:pt x="153" y="820"/>
                </a:cubicBezTo>
                <a:cubicBezTo>
                  <a:pt x="151" y="823"/>
                  <a:pt x="149" y="828"/>
                  <a:pt x="149" y="833"/>
                </a:cubicBezTo>
                <a:cubicBezTo>
                  <a:pt x="154" y="833"/>
                  <a:pt x="154" y="833"/>
                  <a:pt x="154" y="833"/>
                </a:cubicBezTo>
                <a:cubicBezTo>
                  <a:pt x="190" y="833"/>
                  <a:pt x="190" y="833"/>
                  <a:pt x="190" y="833"/>
                </a:cubicBezTo>
                <a:cubicBezTo>
                  <a:pt x="195" y="833"/>
                  <a:pt x="195" y="833"/>
                  <a:pt x="195" y="833"/>
                </a:cubicBezTo>
                <a:cubicBezTo>
                  <a:pt x="195" y="828"/>
                  <a:pt x="193" y="823"/>
                  <a:pt x="190" y="820"/>
                </a:cubicBezTo>
                <a:cubicBezTo>
                  <a:pt x="195" y="629"/>
                  <a:pt x="195" y="629"/>
                  <a:pt x="195" y="629"/>
                </a:cubicBezTo>
                <a:cubicBezTo>
                  <a:pt x="216" y="629"/>
                  <a:pt x="216" y="629"/>
                  <a:pt x="216" y="629"/>
                </a:cubicBezTo>
                <a:cubicBezTo>
                  <a:pt x="216" y="438"/>
                  <a:pt x="216" y="438"/>
                  <a:pt x="216" y="438"/>
                </a:cubicBezTo>
                <a:cubicBezTo>
                  <a:pt x="225" y="259"/>
                  <a:pt x="225" y="259"/>
                  <a:pt x="225" y="259"/>
                </a:cubicBezTo>
                <a:cubicBezTo>
                  <a:pt x="235" y="299"/>
                  <a:pt x="240" y="340"/>
                  <a:pt x="245" y="383"/>
                </a:cubicBezTo>
                <a:cubicBezTo>
                  <a:pt x="249" y="383"/>
                  <a:pt x="249" y="383"/>
                  <a:pt x="249" y="383"/>
                </a:cubicBezTo>
                <a:cubicBezTo>
                  <a:pt x="249" y="398"/>
                  <a:pt x="249" y="398"/>
                  <a:pt x="249" y="398"/>
                </a:cubicBezTo>
                <a:cubicBezTo>
                  <a:pt x="249" y="405"/>
                  <a:pt x="255" y="411"/>
                  <a:pt x="262" y="411"/>
                </a:cubicBezTo>
                <a:cubicBezTo>
                  <a:pt x="269" y="411"/>
                  <a:pt x="274" y="405"/>
                  <a:pt x="274" y="398"/>
                </a:cubicBezTo>
                <a:cubicBezTo>
                  <a:pt x="274" y="383"/>
                  <a:pt x="274" y="383"/>
                  <a:pt x="274" y="383"/>
                </a:cubicBezTo>
                <a:cubicBezTo>
                  <a:pt x="279" y="383"/>
                  <a:pt x="279" y="383"/>
                  <a:pt x="279" y="383"/>
                </a:cubicBezTo>
                <a:cubicBezTo>
                  <a:pt x="272" y="307"/>
                  <a:pt x="262" y="238"/>
                  <a:pt x="230" y="169"/>
                </a:cubicBez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01" name="Group 400">
            <a:extLst>
              <a:ext uri="{FF2B5EF4-FFF2-40B4-BE49-F238E27FC236}">
                <a16:creationId xmlns:a16="http://schemas.microsoft.com/office/drawing/2014/main" id="{E582731F-9D26-4FB5-8B36-811C0D1DD7DF}"/>
              </a:ext>
            </a:extLst>
          </p:cNvPr>
          <p:cNvGrpSpPr/>
          <p:nvPr/>
        </p:nvGrpSpPr>
        <p:grpSpPr>
          <a:xfrm>
            <a:off x="4562990" y="3133594"/>
            <a:ext cx="1646522" cy="4432949"/>
            <a:chOff x="4763661" y="2954623"/>
            <a:chExt cx="1015788" cy="2734817"/>
          </a:xfrm>
        </p:grpSpPr>
        <p:sp>
          <p:nvSpPr>
            <p:cNvPr id="402" name="Rectangle 3">
              <a:extLst>
                <a:ext uri="{FF2B5EF4-FFF2-40B4-BE49-F238E27FC236}">
                  <a16:creationId xmlns:a16="http://schemas.microsoft.com/office/drawing/2014/main" id="{FA83D83D-7A61-4231-90FB-E013B7256EA6}"/>
                </a:ext>
              </a:extLst>
            </p:cNvPr>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3" name="Group 402">
              <a:extLst>
                <a:ext uri="{FF2B5EF4-FFF2-40B4-BE49-F238E27FC236}">
                  <a16:creationId xmlns:a16="http://schemas.microsoft.com/office/drawing/2014/main" id="{441A6794-4191-402E-AE2C-A896B8C7341F}"/>
                </a:ext>
              </a:extLst>
            </p:cNvPr>
            <p:cNvGrpSpPr/>
            <p:nvPr/>
          </p:nvGrpSpPr>
          <p:grpSpPr>
            <a:xfrm>
              <a:off x="4763661" y="2954623"/>
              <a:ext cx="1015788" cy="2734817"/>
              <a:chOff x="5166219" y="3359117"/>
              <a:chExt cx="454025" cy="1222376"/>
            </a:xfrm>
          </p:grpSpPr>
          <p:sp>
            <p:nvSpPr>
              <p:cNvPr id="404" name="Freeform 140">
                <a:extLst>
                  <a:ext uri="{FF2B5EF4-FFF2-40B4-BE49-F238E27FC236}">
                    <a16:creationId xmlns:a16="http://schemas.microsoft.com/office/drawing/2014/main" id="{3AAD4EC6-4DE4-4D05-8888-66A6F4A555AF}"/>
                  </a:ext>
                </a:extLst>
              </p:cNvPr>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5" name="Freeform 141">
                <a:extLst>
                  <a:ext uri="{FF2B5EF4-FFF2-40B4-BE49-F238E27FC236}">
                    <a16:creationId xmlns:a16="http://schemas.microsoft.com/office/drawing/2014/main" id="{7CCDF01B-9F7D-4196-BAE1-9AECD012A0E3}"/>
                  </a:ext>
                </a:extLst>
              </p:cNvPr>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6" name="Freeform 142">
                <a:extLst>
                  <a:ext uri="{FF2B5EF4-FFF2-40B4-BE49-F238E27FC236}">
                    <a16:creationId xmlns:a16="http://schemas.microsoft.com/office/drawing/2014/main" id="{24A82AB6-7A1F-4D7C-A7CF-07923764523C}"/>
                  </a:ext>
                </a:extLst>
              </p:cNvPr>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7" name="Freeform 143">
                <a:extLst>
                  <a:ext uri="{FF2B5EF4-FFF2-40B4-BE49-F238E27FC236}">
                    <a16:creationId xmlns:a16="http://schemas.microsoft.com/office/drawing/2014/main" id="{F4A0BB98-022C-40EB-995E-4E9AE5805289}"/>
                  </a:ext>
                </a:extLst>
              </p:cNvPr>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8" name="Freeform 144">
                <a:extLst>
                  <a:ext uri="{FF2B5EF4-FFF2-40B4-BE49-F238E27FC236}">
                    <a16:creationId xmlns:a16="http://schemas.microsoft.com/office/drawing/2014/main" id="{8FE91AA7-BBE0-4B9C-B3E1-777DB78FC40B}"/>
                  </a:ext>
                </a:extLst>
              </p:cNvPr>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9" name="Freeform 145">
                <a:extLst>
                  <a:ext uri="{FF2B5EF4-FFF2-40B4-BE49-F238E27FC236}">
                    <a16:creationId xmlns:a16="http://schemas.microsoft.com/office/drawing/2014/main" id="{19B9081D-97DE-4EF4-B0CD-DBFB55D50E4B}"/>
                  </a:ext>
                </a:extLst>
              </p:cNvPr>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0" name="Freeform 146">
                <a:extLst>
                  <a:ext uri="{FF2B5EF4-FFF2-40B4-BE49-F238E27FC236}">
                    <a16:creationId xmlns:a16="http://schemas.microsoft.com/office/drawing/2014/main" id="{54F6E1A4-ED93-470F-A282-9A9D09B8A0AC}"/>
                  </a:ext>
                </a:extLst>
              </p:cNvPr>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1" name="Freeform 147">
                <a:extLst>
                  <a:ext uri="{FF2B5EF4-FFF2-40B4-BE49-F238E27FC236}">
                    <a16:creationId xmlns:a16="http://schemas.microsoft.com/office/drawing/2014/main" id="{0A1B9125-9972-4BAB-9134-19A63B229727}"/>
                  </a:ext>
                </a:extLst>
              </p:cNvPr>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2" name="Freeform 148">
                <a:extLst>
                  <a:ext uri="{FF2B5EF4-FFF2-40B4-BE49-F238E27FC236}">
                    <a16:creationId xmlns:a16="http://schemas.microsoft.com/office/drawing/2014/main" id="{E70958F8-5DCE-46F9-A8C0-9181A34F0A95}"/>
                  </a:ext>
                </a:extLst>
              </p:cNvPr>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3" name="Freeform 149">
                <a:extLst>
                  <a:ext uri="{FF2B5EF4-FFF2-40B4-BE49-F238E27FC236}">
                    <a16:creationId xmlns:a16="http://schemas.microsoft.com/office/drawing/2014/main" id="{9B463D85-21BA-4560-94E6-A25EE6C70574}"/>
                  </a:ext>
                </a:extLst>
              </p:cNvPr>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4" name="Freeform 150">
                <a:extLst>
                  <a:ext uri="{FF2B5EF4-FFF2-40B4-BE49-F238E27FC236}">
                    <a16:creationId xmlns:a16="http://schemas.microsoft.com/office/drawing/2014/main" id="{BB46DD65-4C1D-456A-AEFE-3D71CBCFD329}"/>
                  </a:ext>
                </a:extLst>
              </p:cNvPr>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5" name="Freeform 151">
                <a:extLst>
                  <a:ext uri="{FF2B5EF4-FFF2-40B4-BE49-F238E27FC236}">
                    <a16:creationId xmlns:a16="http://schemas.microsoft.com/office/drawing/2014/main" id="{C2E5F409-ECD8-4B41-A17F-C9435AF0D8FF}"/>
                  </a:ext>
                </a:extLst>
              </p:cNvPr>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6" name="Freeform 152">
                <a:extLst>
                  <a:ext uri="{FF2B5EF4-FFF2-40B4-BE49-F238E27FC236}">
                    <a16:creationId xmlns:a16="http://schemas.microsoft.com/office/drawing/2014/main" id="{44F8BF16-8485-4485-A5B8-647987A22649}"/>
                  </a:ext>
                </a:extLst>
              </p:cNvPr>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7" name="Freeform 153">
                <a:extLst>
                  <a:ext uri="{FF2B5EF4-FFF2-40B4-BE49-F238E27FC236}">
                    <a16:creationId xmlns:a16="http://schemas.microsoft.com/office/drawing/2014/main" id="{ED3D5471-B58B-41D1-9DA2-D52D99496503}"/>
                  </a:ext>
                </a:extLst>
              </p:cNvPr>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8" name="Freeform 154">
                <a:extLst>
                  <a:ext uri="{FF2B5EF4-FFF2-40B4-BE49-F238E27FC236}">
                    <a16:creationId xmlns:a16="http://schemas.microsoft.com/office/drawing/2014/main" id="{1309A9BD-C091-4F62-A07F-3455AA1D5E14}"/>
                  </a:ext>
                </a:extLst>
              </p:cNvPr>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19" name="Freeform 155">
                <a:extLst>
                  <a:ext uri="{FF2B5EF4-FFF2-40B4-BE49-F238E27FC236}">
                    <a16:creationId xmlns:a16="http://schemas.microsoft.com/office/drawing/2014/main" id="{EBDABB1D-4ADC-42D8-B22B-835EE8CBCFCA}"/>
                  </a:ext>
                </a:extLst>
              </p:cNvPr>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0" name="Freeform 156">
                <a:extLst>
                  <a:ext uri="{FF2B5EF4-FFF2-40B4-BE49-F238E27FC236}">
                    <a16:creationId xmlns:a16="http://schemas.microsoft.com/office/drawing/2014/main" id="{FB781FF2-C890-409C-905D-4CEB67EB1FC6}"/>
                  </a:ext>
                </a:extLst>
              </p:cNvPr>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1" name="Freeform 157">
                <a:extLst>
                  <a:ext uri="{FF2B5EF4-FFF2-40B4-BE49-F238E27FC236}">
                    <a16:creationId xmlns:a16="http://schemas.microsoft.com/office/drawing/2014/main" id="{CBB9E526-9E61-4243-9AD5-447A13D2E974}"/>
                  </a:ext>
                </a:extLst>
              </p:cNvPr>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2" name="Freeform 158">
                <a:extLst>
                  <a:ext uri="{FF2B5EF4-FFF2-40B4-BE49-F238E27FC236}">
                    <a16:creationId xmlns:a16="http://schemas.microsoft.com/office/drawing/2014/main" id="{CD2D4458-2DDD-41AA-AF56-31EE2B8BAED5}"/>
                  </a:ext>
                </a:extLst>
              </p:cNvPr>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3" name="Freeform 159">
                <a:extLst>
                  <a:ext uri="{FF2B5EF4-FFF2-40B4-BE49-F238E27FC236}">
                    <a16:creationId xmlns:a16="http://schemas.microsoft.com/office/drawing/2014/main" id="{40B4C017-B188-43FD-ABE8-DBC89C213E9E}"/>
                  </a:ext>
                </a:extLst>
              </p:cNvPr>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4" name="Freeform 160">
                <a:extLst>
                  <a:ext uri="{FF2B5EF4-FFF2-40B4-BE49-F238E27FC236}">
                    <a16:creationId xmlns:a16="http://schemas.microsoft.com/office/drawing/2014/main" id="{6956F889-D628-4C1B-A781-9B83BDE681B2}"/>
                  </a:ext>
                </a:extLst>
              </p:cNvPr>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5" name="Freeform 161">
                <a:extLst>
                  <a:ext uri="{FF2B5EF4-FFF2-40B4-BE49-F238E27FC236}">
                    <a16:creationId xmlns:a16="http://schemas.microsoft.com/office/drawing/2014/main" id="{5FEE69AB-C32A-445D-912F-D119CB5D1F0F}"/>
                  </a:ext>
                </a:extLst>
              </p:cNvPr>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6" name="Freeform 162">
                <a:extLst>
                  <a:ext uri="{FF2B5EF4-FFF2-40B4-BE49-F238E27FC236}">
                    <a16:creationId xmlns:a16="http://schemas.microsoft.com/office/drawing/2014/main" id="{EB424525-F56D-4CDC-A053-21E371C6FAD4}"/>
                  </a:ext>
                </a:extLst>
              </p:cNvPr>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7" name="Freeform 163">
                <a:extLst>
                  <a:ext uri="{FF2B5EF4-FFF2-40B4-BE49-F238E27FC236}">
                    <a16:creationId xmlns:a16="http://schemas.microsoft.com/office/drawing/2014/main" id="{1898B468-5130-41A6-A6E7-0F0404580B38}"/>
                  </a:ext>
                </a:extLst>
              </p:cNvPr>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8" name="Freeform 164">
                <a:extLst>
                  <a:ext uri="{FF2B5EF4-FFF2-40B4-BE49-F238E27FC236}">
                    <a16:creationId xmlns:a16="http://schemas.microsoft.com/office/drawing/2014/main" id="{85544EF7-34AC-4240-8547-C825377DD772}"/>
                  </a:ext>
                </a:extLst>
              </p:cNvPr>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29" name="Freeform 165">
                <a:extLst>
                  <a:ext uri="{FF2B5EF4-FFF2-40B4-BE49-F238E27FC236}">
                    <a16:creationId xmlns:a16="http://schemas.microsoft.com/office/drawing/2014/main" id="{6ED344B1-8A2E-4946-9C6C-2CE7C9B188A0}"/>
                  </a:ext>
                </a:extLst>
              </p:cNvPr>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430" name="Group 429">
            <a:extLst>
              <a:ext uri="{FF2B5EF4-FFF2-40B4-BE49-F238E27FC236}">
                <a16:creationId xmlns:a16="http://schemas.microsoft.com/office/drawing/2014/main" id="{7151B479-6998-4C00-A7B5-F3AE126DAED8}"/>
              </a:ext>
            </a:extLst>
          </p:cNvPr>
          <p:cNvGrpSpPr/>
          <p:nvPr/>
        </p:nvGrpSpPr>
        <p:grpSpPr>
          <a:xfrm>
            <a:off x="6267717" y="2945827"/>
            <a:ext cx="1652277" cy="4571118"/>
            <a:chOff x="5648819" y="3317842"/>
            <a:chExt cx="455612" cy="1260476"/>
          </a:xfrm>
        </p:grpSpPr>
        <p:sp>
          <p:nvSpPr>
            <p:cNvPr id="431" name="Freeform 110">
              <a:extLst>
                <a:ext uri="{FF2B5EF4-FFF2-40B4-BE49-F238E27FC236}">
                  <a16:creationId xmlns:a16="http://schemas.microsoft.com/office/drawing/2014/main" id="{06287D79-9F24-43DB-A428-7986425EFAF0}"/>
                </a:ext>
              </a:extLst>
            </p:cNvPr>
            <p:cNvSpPr>
              <a:spLocks/>
            </p:cNvSpPr>
            <p:nvPr/>
          </p:nvSpPr>
          <p:spPr bwMode="auto">
            <a:xfrm>
              <a:off x="5828206" y="3535330"/>
              <a:ext cx="96838" cy="103188"/>
            </a:xfrm>
            <a:custGeom>
              <a:avLst/>
              <a:gdLst>
                <a:gd name="T0" fmla="*/ 0 w 61"/>
                <a:gd name="T1" fmla="*/ 6 h 65"/>
                <a:gd name="T2" fmla="*/ 6 w 61"/>
                <a:gd name="T3" fmla="*/ 0 h 65"/>
                <a:gd name="T4" fmla="*/ 55 w 61"/>
                <a:gd name="T5" fmla="*/ 0 h 65"/>
                <a:gd name="T6" fmla="*/ 61 w 61"/>
                <a:gd name="T7" fmla="*/ 6 h 65"/>
                <a:gd name="T8" fmla="*/ 45 w 61"/>
                <a:gd name="T9" fmla="*/ 61 h 65"/>
                <a:gd name="T10" fmla="*/ 22 w 61"/>
                <a:gd name="T11" fmla="*/ 65 h 65"/>
                <a:gd name="T12" fmla="*/ 3 w 61"/>
                <a:gd name="T13" fmla="*/ 39 h 65"/>
                <a:gd name="T14" fmla="*/ 0 w 61"/>
                <a:gd name="T15" fmla="*/ 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5">
                  <a:moveTo>
                    <a:pt x="0" y="6"/>
                  </a:moveTo>
                  <a:lnTo>
                    <a:pt x="6" y="0"/>
                  </a:lnTo>
                  <a:lnTo>
                    <a:pt x="55" y="0"/>
                  </a:lnTo>
                  <a:lnTo>
                    <a:pt x="61" y="6"/>
                  </a:lnTo>
                  <a:lnTo>
                    <a:pt x="45" y="61"/>
                  </a:lnTo>
                  <a:lnTo>
                    <a:pt x="22" y="65"/>
                  </a:lnTo>
                  <a:lnTo>
                    <a:pt x="3" y="39"/>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2" name="Freeform 96">
              <a:extLst>
                <a:ext uri="{FF2B5EF4-FFF2-40B4-BE49-F238E27FC236}">
                  <a16:creationId xmlns:a16="http://schemas.microsoft.com/office/drawing/2014/main" id="{C8CE183F-70D2-46D9-86D1-1CFE035AD5A9}"/>
                </a:ext>
              </a:extLst>
            </p:cNvPr>
            <p:cNvSpPr>
              <a:spLocks/>
            </p:cNvSpPr>
            <p:nvPr/>
          </p:nvSpPr>
          <p:spPr bwMode="auto">
            <a:xfrm>
              <a:off x="5755181" y="3973480"/>
              <a:ext cx="130175" cy="565150"/>
            </a:xfrm>
            <a:custGeom>
              <a:avLst/>
              <a:gdLst>
                <a:gd name="T0" fmla="*/ 61 w 79"/>
                <a:gd name="T1" fmla="*/ 339 h 339"/>
                <a:gd name="T2" fmla="*/ 14 w 79"/>
                <a:gd name="T3" fmla="*/ 339 h 339"/>
                <a:gd name="T4" fmla="*/ 0 w 79"/>
                <a:gd name="T5" fmla="*/ 0 h 339"/>
                <a:gd name="T6" fmla="*/ 79 w 79"/>
                <a:gd name="T7" fmla="*/ 0 h 339"/>
                <a:gd name="T8" fmla="*/ 61 w 79"/>
                <a:gd name="T9" fmla="*/ 339 h 339"/>
              </a:gdLst>
              <a:ahLst/>
              <a:cxnLst>
                <a:cxn ang="0">
                  <a:pos x="T0" y="T1"/>
                </a:cxn>
                <a:cxn ang="0">
                  <a:pos x="T2" y="T3"/>
                </a:cxn>
                <a:cxn ang="0">
                  <a:pos x="T4" y="T5"/>
                </a:cxn>
                <a:cxn ang="0">
                  <a:pos x="T6" y="T7"/>
                </a:cxn>
                <a:cxn ang="0">
                  <a:pos x="T8" y="T9"/>
                </a:cxn>
              </a:cxnLst>
              <a:rect l="0" t="0" r="r" b="b"/>
              <a:pathLst>
                <a:path w="79" h="339">
                  <a:moveTo>
                    <a:pt x="61" y="339"/>
                  </a:moveTo>
                  <a:lnTo>
                    <a:pt x="14" y="339"/>
                  </a:lnTo>
                  <a:lnTo>
                    <a:pt x="0" y="0"/>
                  </a:lnTo>
                  <a:lnTo>
                    <a:pt x="79" y="0"/>
                  </a:lnTo>
                  <a:lnTo>
                    <a:pt x="61" y="339"/>
                  </a:lnTo>
                  <a:close/>
                </a:path>
              </a:pathLst>
            </a:custGeom>
            <a:solidFill>
              <a:srgbClr val="CDF4FF">
                <a:lumMod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3" name="Freeform 97">
              <a:extLst>
                <a:ext uri="{FF2B5EF4-FFF2-40B4-BE49-F238E27FC236}">
                  <a16:creationId xmlns:a16="http://schemas.microsoft.com/office/drawing/2014/main" id="{934F5651-6FB1-4D7B-84A4-1D0EC13C4940}"/>
                </a:ext>
              </a:extLst>
            </p:cNvPr>
            <p:cNvSpPr>
              <a:spLocks/>
            </p:cNvSpPr>
            <p:nvPr/>
          </p:nvSpPr>
          <p:spPr bwMode="auto">
            <a:xfrm>
              <a:off x="5864719" y="3973480"/>
              <a:ext cx="130175" cy="565150"/>
            </a:xfrm>
            <a:custGeom>
              <a:avLst/>
              <a:gdLst>
                <a:gd name="T0" fmla="*/ 64 w 79"/>
                <a:gd name="T1" fmla="*/ 339 h 339"/>
                <a:gd name="T2" fmla="*/ 17 w 79"/>
                <a:gd name="T3" fmla="*/ 339 h 339"/>
                <a:gd name="T4" fmla="*/ 0 w 79"/>
                <a:gd name="T5" fmla="*/ 0 h 339"/>
                <a:gd name="T6" fmla="*/ 79 w 79"/>
                <a:gd name="T7" fmla="*/ 0 h 339"/>
                <a:gd name="T8" fmla="*/ 64 w 79"/>
                <a:gd name="T9" fmla="*/ 339 h 339"/>
              </a:gdLst>
              <a:ahLst/>
              <a:cxnLst>
                <a:cxn ang="0">
                  <a:pos x="T0" y="T1"/>
                </a:cxn>
                <a:cxn ang="0">
                  <a:pos x="T2" y="T3"/>
                </a:cxn>
                <a:cxn ang="0">
                  <a:pos x="T4" y="T5"/>
                </a:cxn>
                <a:cxn ang="0">
                  <a:pos x="T6" y="T7"/>
                </a:cxn>
                <a:cxn ang="0">
                  <a:pos x="T8" y="T9"/>
                </a:cxn>
              </a:cxnLst>
              <a:rect l="0" t="0" r="r" b="b"/>
              <a:pathLst>
                <a:path w="79" h="339">
                  <a:moveTo>
                    <a:pt x="64" y="339"/>
                  </a:moveTo>
                  <a:lnTo>
                    <a:pt x="17" y="339"/>
                  </a:lnTo>
                  <a:lnTo>
                    <a:pt x="0" y="0"/>
                  </a:lnTo>
                  <a:lnTo>
                    <a:pt x="79" y="0"/>
                  </a:lnTo>
                  <a:lnTo>
                    <a:pt x="64" y="339"/>
                  </a:lnTo>
                  <a:close/>
                </a:path>
              </a:pathLst>
            </a:custGeom>
            <a:solidFill>
              <a:srgbClr val="CDF4FF">
                <a:lumMod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4" name="Freeform 98">
              <a:extLst>
                <a:ext uri="{FF2B5EF4-FFF2-40B4-BE49-F238E27FC236}">
                  <a16:creationId xmlns:a16="http://schemas.microsoft.com/office/drawing/2014/main" id="{DFB35546-AF4C-4A24-9A6E-BBD960CCBEE4}"/>
                </a:ext>
              </a:extLst>
            </p:cNvPr>
            <p:cNvSpPr>
              <a:spLocks/>
            </p:cNvSpPr>
            <p:nvPr/>
          </p:nvSpPr>
          <p:spPr bwMode="auto">
            <a:xfrm>
              <a:off x="5885356"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5" name="Freeform 99">
              <a:extLst>
                <a:ext uri="{FF2B5EF4-FFF2-40B4-BE49-F238E27FC236}">
                  <a16:creationId xmlns:a16="http://schemas.microsoft.com/office/drawing/2014/main" id="{D8317DBE-E59A-4EAE-8165-D0FF9A8E2247}"/>
                </a:ext>
              </a:extLst>
            </p:cNvPr>
            <p:cNvSpPr>
              <a:spLocks/>
            </p:cNvSpPr>
            <p:nvPr/>
          </p:nvSpPr>
          <p:spPr bwMode="auto">
            <a:xfrm>
              <a:off x="5818681" y="3546442"/>
              <a:ext cx="120650" cy="328613"/>
            </a:xfrm>
            <a:custGeom>
              <a:avLst/>
              <a:gdLst>
                <a:gd name="T0" fmla="*/ 76 w 76"/>
                <a:gd name="T1" fmla="*/ 43 h 207"/>
                <a:gd name="T2" fmla="*/ 38 w 76"/>
                <a:gd name="T3" fmla="*/ 0 h 207"/>
                <a:gd name="T4" fmla="*/ 0 w 76"/>
                <a:gd name="T5" fmla="*/ 40 h 207"/>
                <a:gd name="T6" fmla="*/ 28 w 76"/>
                <a:gd name="T7" fmla="*/ 192 h 207"/>
                <a:gd name="T8" fmla="*/ 36 w 76"/>
                <a:gd name="T9" fmla="*/ 207 h 207"/>
                <a:gd name="T10" fmla="*/ 45 w 76"/>
                <a:gd name="T11" fmla="*/ 192 h 207"/>
                <a:gd name="T12" fmla="*/ 76 w 76"/>
                <a:gd name="T13" fmla="*/ 43 h 207"/>
              </a:gdLst>
              <a:ahLst/>
              <a:cxnLst>
                <a:cxn ang="0">
                  <a:pos x="T0" y="T1"/>
                </a:cxn>
                <a:cxn ang="0">
                  <a:pos x="T2" y="T3"/>
                </a:cxn>
                <a:cxn ang="0">
                  <a:pos x="T4" y="T5"/>
                </a:cxn>
                <a:cxn ang="0">
                  <a:pos x="T6" y="T7"/>
                </a:cxn>
                <a:cxn ang="0">
                  <a:pos x="T8" y="T9"/>
                </a:cxn>
                <a:cxn ang="0">
                  <a:pos x="T10" y="T11"/>
                </a:cxn>
                <a:cxn ang="0">
                  <a:pos x="T12" y="T13"/>
                </a:cxn>
              </a:cxnLst>
              <a:rect l="0" t="0" r="r" b="b"/>
              <a:pathLst>
                <a:path w="76" h="207">
                  <a:moveTo>
                    <a:pt x="76" y="43"/>
                  </a:moveTo>
                  <a:lnTo>
                    <a:pt x="38" y="0"/>
                  </a:lnTo>
                  <a:lnTo>
                    <a:pt x="0" y="40"/>
                  </a:lnTo>
                  <a:lnTo>
                    <a:pt x="28" y="192"/>
                  </a:lnTo>
                  <a:lnTo>
                    <a:pt x="36" y="207"/>
                  </a:lnTo>
                  <a:lnTo>
                    <a:pt x="45" y="192"/>
                  </a:lnTo>
                  <a:lnTo>
                    <a:pt x="76" y="4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6" name="Freeform 100">
              <a:extLst>
                <a:ext uri="{FF2B5EF4-FFF2-40B4-BE49-F238E27FC236}">
                  <a16:creationId xmlns:a16="http://schemas.microsoft.com/office/drawing/2014/main" id="{73DEC8CE-4492-408F-9442-9DF2B4CD5896}"/>
                </a:ext>
              </a:extLst>
            </p:cNvPr>
            <p:cNvSpPr>
              <a:spLocks/>
            </p:cNvSpPr>
            <p:nvPr/>
          </p:nvSpPr>
          <p:spPr bwMode="auto">
            <a:xfrm>
              <a:off x="5805981" y="3324192"/>
              <a:ext cx="152400" cy="193675"/>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7" name="Freeform 101">
              <a:extLst>
                <a:ext uri="{FF2B5EF4-FFF2-40B4-BE49-F238E27FC236}">
                  <a16:creationId xmlns:a16="http://schemas.microsoft.com/office/drawing/2014/main" id="{714E516D-E4D2-441C-8364-F35473FA370F}"/>
                </a:ext>
              </a:extLst>
            </p:cNvPr>
            <p:cNvSpPr>
              <a:spLocks/>
            </p:cNvSpPr>
            <p:nvPr/>
          </p:nvSpPr>
          <p:spPr bwMode="auto">
            <a:xfrm>
              <a:off x="5778994" y="3317842"/>
              <a:ext cx="169863" cy="209550"/>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8" name="Freeform 102">
              <a:extLst>
                <a:ext uri="{FF2B5EF4-FFF2-40B4-BE49-F238E27FC236}">
                  <a16:creationId xmlns:a16="http://schemas.microsoft.com/office/drawing/2014/main" id="{D7D92A04-A81F-4CC9-A687-5CEA96ABE829}"/>
                </a:ext>
              </a:extLst>
            </p:cNvPr>
            <p:cNvSpPr>
              <a:spLocks/>
            </p:cNvSpPr>
            <p:nvPr/>
          </p:nvSpPr>
          <p:spPr bwMode="auto">
            <a:xfrm>
              <a:off x="5837731" y="3471830"/>
              <a:ext cx="77788" cy="93663"/>
            </a:xfrm>
            <a:custGeom>
              <a:avLst/>
              <a:gdLst>
                <a:gd name="T0" fmla="*/ 49 w 49"/>
                <a:gd name="T1" fmla="*/ 40 h 59"/>
                <a:gd name="T2" fmla="*/ 24 w 49"/>
                <a:gd name="T3" fmla="*/ 59 h 59"/>
                <a:gd name="T4" fmla="*/ 0 w 49"/>
                <a:gd name="T5" fmla="*/ 40 h 59"/>
                <a:gd name="T6" fmla="*/ 0 w 49"/>
                <a:gd name="T7" fmla="*/ 0 h 59"/>
                <a:gd name="T8" fmla="*/ 49 w 49"/>
                <a:gd name="T9" fmla="*/ 0 h 59"/>
                <a:gd name="T10" fmla="*/ 49 w 49"/>
                <a:gd name="T11" fmla="*/ 40 h 59"/>
              </a:gdLst>
              <a:ahLst/>
              <a:cxnLst>
                <a:cxn ang="0">
                  <a:pos x="T0" y="T1"/>
                </a:cxn>
                <a:cxn ang="0">
                  <a:pos x="T2" y="T3"/>
                </a:cxn>
                <a:cxn ang="0">
                  <a:pos x="T4" y="T5"/>
                </a:cxn>
                <a:cxn ang="0">
                  <a:pos x="T6" y="T7"/>
                </a:cxn>
                <a:cxn ang="0">
                  <a:pos x="T8" y="T9"/>
                </a:cxn>
                <a:cxn ang="0">
                  <a:pos x="T10" y="T11"/>
                </a:cxn>
              </a:cxnLst>
              <a:rect l="0" t="0" r="r" b="b"/>
              <a:pathLst>
                <a:path w="49" h="59">
                  <a:moveTo>
                    <a:pt x="49" y="40"/>
                  </a:moveTo>
                  <a:lnTo>
                    <a:pt x="24" y="59"/>
                  </a:lnTo>
                  <a:lnTo>
                    <a:pt x="0" y="40"/>
                  </a:lnTo>
                  <a:lnTo>
                    <a:pt x="0" y="0"/>
                  </a:lnTo>
                  <a:lnTo>
                    <a:pt x="49" y="0"/>
                  </a:lnTo>
                  <a:lnTo>
                    <a:pt x="49" y="4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39" name="Freeform 103">
              <a:extLst>
                <a:ext uri="{FF2B5EF4-FFF2-40B4-BE49-F238E27FC236}">
                  <a16:creationId xmlns:a16="http://schemas.microsoft.com/office/drawing/2014/main" id="{D55ACBC9-B657-43C4-A4CA-30680E15C3EA}"/>
                </a:ext>
              </a:extLst>
            </p:cNvPr>
            <p:cNvSpPr>
              <a:spLocks/>
            </p:cNvSpPr>
            <p:nvPr/>
          </p:nvSpPr>
          <p:spPr bwMode="auto">
            <a:xfrm>
              <a:off x="5648819" y="3559142"/>
              <a:ext cx="169863" cy="434975"/>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rgbClr val="D83B01">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0" name="Freeform 104">
              <a:extLst>
                <a:ext uri="{FF2B5EF4-FFF2-40B4-BE49-F238E27FC236}">
                  <a16:creationId xmlns:a16="http://schemas.microsoft.com/office/drawing/2014/main" id="{267E83DD-FDFA-4192-9CA9-AEB5BF3D7C74}"/>
                </a:ext>
              </a:extLst>
            </p:cNvPr>
            <p:cNvSpPr>
              <a:spLocks/>
            </p:cNvSpPr>
            <p:nvPr/>
          </p:nvSpPr>
          <p:spPr bwMode="auto">
            <a:xfrm>
              <a:off x="5936156" y="3559142"/>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1" name="Freeform 105">
              <a:extLst>
                <a:ext uri="{FF2B5EF4-FFF2-40B4-BE49-F238E27FC236}">
                  <a16:creationId xmlns:a16="http://schemas.microsoft.com/office/drawing/2014/main" id="{59C39C9A-A22B-49A6-8482-E50A255BDE08}"/>
                </a:ext>
              </a:extLst>
            </p:cNvPr>
            <p:cNvSpPr>
              <a:spLocks/>
            </p:cNvSpPr>
            <p:nvPr/>
          </p:nvSpPr>
          <p:spPr bwMode="auto">
            <a:xfrm>
              <a:off x="5658344"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2" name="Freeform 106">
              <a:extLst>
                <a:ext uri="{FF2B5EF4-FFF2-40B4-BE49-F238E27FC236}">
                  <a16:creationId xmlns:a16="http://schemas.microsoft.com/office/drawing/2014/main" id="{7C3826F7-FB59-407C-97A4-96918329B09A}"/>
                </a:ext>
              </a:extLst>
            </p:cNvPr>
            <p:cNvSpPr>
              <a:spLocks/>
            </p:cNvSpPr>
            <p:nvPr/>
          </p:nvSpPr>
          <p:spPr bwMode="auto">
            <a:xfrm>
              <a:off x="6044106"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3" name="Freeform 107">
              <a:extLst>
                <a:ext uri="{FF2B5EF4-FFF2-40B4-BE49-F238E27FC236}">
                  <a16:creationId xmlns:a16="http://schemas.microsoft.com/office/drawing/2014/main" id="{256C4F40-5E73-4F11-A757-EE9C817FE381}"/>
                </a:ext>
              </a:extLst>
            </p:cNvPr>
            <p:cNvSpPr>
              <a:spLocks/>
            </p:cNvSpPr>
            <p:nvPr/>
          </p:nvSpPr>
          <p:spPr bwMode="auto">
            <a:xfrm>
              <a:off x="5750419" y="3544855"/>
              <a:ext cx="252413" cy="441325"/>
            </a:xfrm>
            <a:custGeom>
              <a:avLst/>
              <a:gdLst>
                <a:gd name="T0" fmla="*/ 110 w 159"/>
                <a:gd name="T1" fmla="*/ 0 h 278"/>
                <a:gd name="T2" fmla="*/ 79 w 159"/>
                <a:gd name="T3" fmla="*/ 52 h 278"/>
                <a:gd name="T4" fmla="*/ 49 w 159"/>
                <a:gd name="T5" fmla="*/ 0 h 278"/>
                <a:gd name="T6" fmla="*/ 0 w 159"/>
                <a:gd name="T7" fmla="*/ 9 h 278"/>
                <a:gd name="T8" fmla="*/ 3 w 159"/>
                <a:gd name="T9" fmla="*/ 278 h 278"/>
                <a:gd name="T10" fmla="*/ 156 w 159"/>
                <a:gd name="T11" fmla="*/ 278 h 278"/>
                <a:gd name="T12" fmla="*/ 159 w 159"/>
                <a:gd name="T13" fmla="*/ 9 h 278"/>
                <a:gd name="T14" fmla="*/ 110 w 15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0" y="0"/>
                  </a:moveTo>
                  <a:lnTo>
                    <a:pt x="79" y="52"/>
                  </a:lnTo>
                  <a:lnTo>
                    <a:pt x="49" y="0"/>
                  </a:lnTo>
                  <a:lnTo>
                    <a:pt x="0" y="9"/>
                  </a:lnTo>
                  <a:lnTo>
                    <a:pt x="3" y="278"/>
                  </a:lnTo>
                  <a:lnTo>
                    <a:pt x="156" y="278"/>
                  </a:lnTo>
                  <a:lnTo>
                    <a:pt x="159" y="9"/>
                  </a:lnTo>
                  <a:lnTo>
                    <a:pt x="11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4" name="Freeform 108">
              <a:extLst>
                <a:ext uri="{FF2B5EF4-FFF2-40B4-BE49-F238E27FC236}">
                  <a16:creationId xmlns:a16="http://schemas.microsoft.com/office/drawing/2014/main" id="{F66A52B5-10BE-469D-AC93-282B19726806}"/>
                </a:ext>
              </a:extLst>
            </p:cNvPr>
            <p:cNvSpPr>
              <a:spLocks/>
            </p:cNvSpPr>
            <p:nvPr/>
          </p:nvSpPr>
          <p:spPr bwMode="auto">
            <a:xfrm>
              <a:off x="5940919" y="339086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5" name="Freeform 109">
              <a:extLst>
                <a:ext uri="{FF2B5EF4-FFF2-40B4-BE49-F238E27FC236}">
                  <a16:creationId xmlns:a16="http://schemas.microsoft.com/office/drawing/2014/main" id="{30ECBDF7-16CC-49FC-86DA-3B87D93DB4B1}"/>
                </a:ext>
              </a:extLst>
            </p:cNvPr>
            <p:cNvSpPr>
              <a:spLocks/>
            </p:cNvSpPr>
            <p:nvPr/>
          </p:nvSpPr>
          <p:spPr bwMode="auto">
            <a:xfrm>
              <a:off x="5939331" y="338928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6" name="Freeform 110">
              <a:extLst>
                <a:ext uri="{FF2B5EF4-FFF2-40B4-BE49-F238E27FC236}">
                  <a16:creationId xmlns:a16="http://schemas.microsoft.com/office/drawing/2014/main" id="{40029044-8F3D-45AF-A976-1D68D1CD5748}"/>
                </a:ext>
              </a:extLst>
            </p:cNvPr>
            <p:cNvSpPr>
              <a:spLocks/>
            </p:cNvSpPr>
            <p:nvPr/>
          </p:nvSpPr>
          <p:spPr bwMode="auto">
            <a:xfrm>
              <a:off x="5937744" y="338293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7" name="Freeform 111">
              <a:extLst>
                <a:ext uri="{FF2B5EF4-FFF2-40B4-BE49-F238E27FC236}">
                  <a16:creationId xmlns:a16="http://schemas.microsoft.com/office/drawing/2014/main" id="{2AE54954-CD01-4E54-981D-DAF6F9A8D828}"/>
                </a:ext>
              </a:extLst>
            </p:cNvPr>
            <p:cNvSpPr>
              <a:spLocks/>
            </p:cNvSpPr>
            <p:nvPr/>
          </p:nvSpPr>
          <p:spPr bwMode="auto">
            <a:xfrm>
              <a:off x="5939331" y="338451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8" name="Freeform 112">
              <a:extLst>
                <a:ext uri="{FF2B5EF4-FFF2-40B4-BE49-F238E27FC236}">
                  <a16:creationId xmlns:a16="http://schemas.microsoft.com/office/drawing/2014/main" id="{60E61F82-D628-456D-B6D6-7BFB4DA85557}"/>
                </a:ext>
              </a:extLst>
            </p:cNvPr>
            <p:cNvSpPr>
              <a:spLocks/>
            </p:cNvSpPr>
            <p:nvPr/>
          </p:nvSpPr>
          <p:spPr bwMode="auto">
            <a:xfrm>
              <a:off x="5813919" y="33845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49" name="Freeform 113">
              <a:extLst>
                <a:ext uri="{FF2B5EF4-FFF2-40B4-BE49-F238E27FC236}">
                  <a16:creationId xmlns:a16="http://schemas.microsoft.com/office/drawing/2014/main" id="{D18BB84C-F194-4A9B-A764-E285FC90392F}"/>
                </a:ext>
              </a:extLst>
            </p:cNvPr>
            <p:cNvSpPr>
              <a:spLocks/>
            </p:cNvSpPr>
            <p:nvPr/>
          </p:nvSpPr>
          <p:spPr bwMode="auto">
            <a:xfrm>
              <a:off x="5940919" y="3394042"/>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0" name="Freeform 114">
              <a:extLst>
                <a:ext uri="{FF2B5EF4-FFF2-40B4-BE49-F238E27FC236}">
                  <a16:creationId xmlns:a16="http://schemas.microsoft.com/office/drawing/2014/main" id="{9B0CB4CE-6E77-45EE-AEAC-431979E0814E}"/>
                </a:ext>
              </a:extLst>
            </p:cNvPr>
            <p:cNvSpPr>
              <a:spLocks/>
            </p:cNvSpPr>
            <p:nvPr/>
          </p:nvSpPr>
          <p:spPr bwMode="auto">
            <a:xfrm>
              <a:off x="5940919" y="3397217"/>
              <a:ext cx="1588" cy="317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1" name="Freeform 115">
              <a:extLst>
                <a:ext uri="{FF2B5EF4-FFF2-40B4-BE49-F238E27FC236}">
                  <a16:creationId xmlns:a16="http://schemas.microsoft.com/office/drawing/2014/main" id="{4CB4F8A4-F93F-401D-905B-C3CF1540ADBC}"/>
                </a:ext>
              </a:extLst>
            </p:cNvPr>
            <p:cNvSpPr>
              <a:spLocks/>
            </p:cNvSpPr>
            <p:nvPr/>
          </p:nvSpPr>
          <p:spPr bwMode="auto">
            <a:xfrm>
              <a:off x="5936156" y="3381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2" name="Freeform 116">
              <a:extLst>
                <a:ext uri="{FF2B5EF4-FFF2-40B4-BE49-F238E27FC236}">
                  <a16:creationId xmlns:a16="http://schemas.microsoft.com/office/drawing/2014/main" id="{E6A9F548-B651-4835-A813-C0CEE5C8CAFF}"/>
                </a:ext>
              </a:extLst>
            </p:cNvPr>
            <p:cNvSpPr>
              <a:spLocks/>
            </p:cNvSpPr>
            <p:nvPr/>
          </p:nvSpPr>
          <p:spPr bwMode="auto">
            <a:xfrm>
              <a:off x="5807569" y="3395630"/>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3" name="Freeform 117">
              <a:extLst>
                <a:ext uri="{FF2B5EF4-FFF2-40B4-BE49-F238E27FC236}">
                  <a16:creationId xmlns:a16="http://schemas.microsoft.com/office/drawing/2014/main" id="{AA7F80BD-055C-46D3-9000-A92AA6EFCB16}"/>
                </a:ext>
              </a:extLst>
            </p:cNvPr>
            <p:cNvSpPr>
              <a:spLocks/>
            </p:cNvSpPr>
            <p:nvPr/>
          </p:nvSpPr>
          <p:spPr bwMode="auto">
            <a:xfrm>
              <a:off x="5810744" y="33908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4" name="Freeform 118">
              <a:extLst>
                <a:ext uri="{FF2B5EF4-FFF2-40B4-BE49-F238E27FC236}">
                  <a16:creationId xmlns:a16="http://schemas.microsoft.com/office/drawing/2014/main" id="{9749732B-7071-4856-A343-4CF44CDCFA7A}"/>
                </a:ext>
              </a:extLst>
            </p:cNvPr>
            <p:cNvSpPr>
              <a:spLocks/>
            </p:cNvSpPr>
            <p:nvPr/>
          </p:nvSpPr>
          <p:spPr bwMode="auto">
            <a:xfrm>
              <a:off x="5812331" y="338610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5" name="Freeform 119">
              <a:extLst>
                <a:ext uri="{FF2B5EF4-FFF2-40B4-BE49-F238E27FC236}">
                  <a16:creationId xmlns:a16="http://schemas.microsoft.com/office/drawing/2014/main" id="{77FC207D-F9D9-4324-8291-6D9BE4A98704}"/>
                </a:ext>
              </a:extLst>
            </p:cNvPr>
            <p:cNvSpPr>
              <a:spLocks/>
            </p:cNvSpPr>
            <p:nvPr/>
          </p:nvSpPr>
          <p:spPr bwMode="auto">
            <a:xfrm>
              <a:off x="5809156" y="33924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6" name="Freeform 120">
              <a:extLst>
                <a:ext uri="{FF2B5EF4-FFF2-40B4-BE49-F238E27FC236}">
                  <a16:creationId xmlns:a16="http://schemas.microsoft.com/office/drawing/2014/main" id="{EF7D31DB-DB25-4259-8844-7DEEDF66431B}"/>
                </a:ext>
              </a:extLst>
            </p:cNvPr>
            <p:cNvSpPr>
              <a:spLocks/>
            </p:cNvSpPr>
            <p:nvPr/>
          </p:nvSpPr>
          <p:spPr bwMode="auto">
            <a:xfrm>
              <a:off x="5798044" y="3376580"/>
              <a:ext cx="155575" cy="139700"/>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7" name="Freeform 121">
              <a:extLst>
                <a:ext uri="{FF2B5EF4-FFF2-40B4-BE49-F238E27FC236}">
                  <a16:creationId xmlns:a16="http://schemas.microsoft.com/office/drawing/2014/main" id="{D04841EB-9602-49E4-8D41-5120392536C1}"/>
                </a:ext>
              </a:extLst>
            </p:cNvPr>
            <p:cNvSpPr>
              <a:spLocks/>
            </p:cNvSpPr>
            <p:nvPr/>
          </p:nvSpPr>
          <p:spPr bwMode="auto">
            <a:xfrm>
              <a:off x="5769600"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58" name="Group 457">
            <a:extLst>
              <a:ext uri="{FF2B5EF4-FFF2-40B4-BE49-F238E27FC236}">
                <a16:creationId xmlns:a16="http://schemas.microsoft.com/office/drawing/2014/main" id="{6406E832-311A-45DE-854F-561FC8237D8F}"/>
              </a:ext>
            </a:extLst>
          </p:cNvPr>
          <p:cNvGrpSpPr/>
          <p:nvPr/>
        </p:nvGrpSpPr>
        <p:grpSpPr>
          <a:xfrm>
            <a:off x="5546806" y="3065149"/>
            <a:ext cx="1506416" cy="4501397"/>
            <a:chOff x="6877823" y="2981768"/>
            <a:chExt cx="898581" cy="2685093"/>
          </a:xfrm>
        </p:grpSpPr>
        <p:sp>
          <p:nvSpPr>
            <p:cNvPr id="459" name="Rectangle 3">
              <a:extLst>
                <a:ext uri="{FF2B5EF4-FFF2-40B4-BE49-F238E27FC236}">
                  <a16:creationId xmlns:a16="http://schemas.microsoft.com/office/drawing/2014/main" id="{B23052EA-33B1-4B67-B860-E9A27C187FE7}"/>
                </a:ext>
              </a:extLst>
            </p:cNvPr>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0" name="Group 459">
              <a:extLst>
                <a:ext uri="{FF2B5EF4-FFF2-40B4-BE49-F238E27FC236}">
                  <a16:creationId xmlns:a16="http://schemas.microsoft.com/office/drawing/2014/main" id="{BE08E1F3-8223-46B0-9EF3-BE757DF18B59}"/>
                </a:ext>
              </a:extLst>
            </p:cNvPr>
            <p:cNvGrpSpPr/>
            <p:nvPr/>
          </p:nvGrpSpPr>
          <p:grpSpPr>
            <a:xfrm>
              <a:off x="6877823" y="2981768"/>
              <a:ext cx="898581" cy="2685093"/>
              <a:chOff x="6125069" y="3378167"/>
              <a:chExt cx="401637" cy="1200151"/>
            </a:xfrm>
          </p:grpSpPr>
          <p:sp>
            <p:nvSpPr>
              <p:cNvPr id="461" name="Freeform 123">
                <a:extLst>
                  <a:ext uri="{FF2B5EF4-FFF2-40B4-BE49-F238E27FC236}">
                    <a16:creationId xmlns:a16="http://schemas.microsoft.com/office/drawing/2014/main" id="{9C6E00A2-85F9-4C4D-A8AA-8FFC54D4689D}"/>
                  </a:ext>
                </a:extLst>
              </p:cNvPr>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2" name="Freeform 124">
                <a:extLst>
                  <a:ext uri="{FF2B5EF4-FFF2-40B4-BE49-F238E27FC236}">
                    <a16:creationId xmlns:a16="http://schemas.microsoft.com/office/drawing/2014/main" id="{4F1D68F2-901F-4996-B9D0-5B4079F099E3}"/>
                  </a:ext>
                </a:extLst>
              </p:cNvPr>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63" name="Group 462">
                <a:extLst>
                  <a:ext uri="{FF2B5EF4-FFF2-40B4-BE49-F238E27FC236}">
                    <a16:creationId xmlns:a16="http://schemas.microsoft.com/office/drawing/2014/main" id="{6A407A1F-D4DB-4EE3-A2D7-321643E12F49}"/>
                  </a:ext>
                </a:extLst>
              </p:cNvPr>
              <p:cNvGrpSpPr/>
              <p:nvPr/>
            </p:nvGrpSpPr>
            <p:grpSpPr>
              <a:xfrm>
                <a:off x="6199681" y="3378167"/>
                <a:ext cx="327025" cy="1200151"/>
                <a:chOff x="6199681" y="3378167"/>
                <a:chExt cx="327025" cy="1200151"/>
              </a:xfrm>
            </p:grpSpPr>
            <p:sp>
              <p:nvSpPr>
                <p:cNvPr id="464" name="Freeform 115">
                  <a:extLst>
                    <a:ext uri="{FF2B5EF4-FFF2-40B4-BE49-F238E27FC236}">
                      <a16:creationId xmlns:a16="http://schemas.microsoft.com/office/drawing/2014/main" id="{469560C3-0E41-460F-A5BE-B84E907D0C96}"/>
                    </a:ext>
                  </a:extLst>
                </p:cNvPr>
                <p:cNvSpPr>
                  <a:spLocks/>
                </p:cNvSpPr>
                <p:nvPr/>
              </p:nvSpPr>
              <p:spPr bwMode="auto">
                <a:xfrm>
                  <a:off x="6233019" y="3378167"/>
                  <a:ext cx="193675" cy="22383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rgbClr val="CDF4FF">
                    <a:lumMod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5" name="Freeform 117">
                  <a:extLst>
                    <a:ext uri="{FF2B5EF4-FFF2-40B4-BE49-F238E27FC236}">
                      <a16:creationId xmlns:a16="http://schemas.microsoft.com/office/drawing/2014/main" id="{58F614F6-C5A9-44DC-BC0A-5D8DFBB4CDD9}"/>
                    </a:ext>
                  </a:extLst>
                </p:cNvPr>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6" name="Freeform 118">
                  <a:extLst>
                    <a:ext uri="{FF2B5EF4-FFF2-40B4-BE49-F238E27FC236}">
                      <a16:creationId xmlns:a16="http://schemas.microsoft.com/office/drawing/2014/main" id="{DC292FD9-AD5A-4761-A874-AD32D4EE16DD}"/>
                    </a:ext>
                  </a:extLst>
                </p:cNvPr>
                <p:cNvSpPr>
                  <a:spLocks/>
                </p:cNvSpPr>
                <p:nvPr/>
              </p:nvSpPr>
              <p:spPr bwMode="auto">
                <a:xfrm>
                  <a:off x="6253656" y="4206843"/>
                  <a:ext cx="71438" cy="371475"/>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7" name="Freeform 119">
                  <a:extLst>
                    <a:ext uri="{FF2B5EF4-FFF2-40B4-BE49-F238E27FC236}">
                      <a16:creationId xmlns:a16="http://schemas.microsoft.com/office/drawing/2014/main" id="{86C61E65-0F2A-4CE5-99B7-713A9ADFAC06}"/>
                    </a:ext>
                  </a:extLst>
                </p:cNvPr>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CDF4FF">
                    <a:lumMod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8" name="Freeform 120">
                  <a:extLst>
                    <a:ext uri="{FF2B5EF4-FFF2-40B4-BE49-F238E27FC236}">
                      <a16:creationId xmlns:a16="http://schemas.microsoft.com/office/drawing/2014/main" id="{F49E03D9-A776-4D18-92B0-1C0569EBD0B4}"/>
                    </a:ext>
                  </a:extLst>
                </p:cNvPr>
                <p:cNvSpPr>
                  <a:spLocks/>
                </p:cNvSpPr>
                <p:nvPr/>
              </p:nvSpPr>
              <p:spPr bwMode="auto">
                <a:xfrm>
                  <a:off x="6336206" y="4206843"/>
                  <a:ext cx="69850" cy="371475"/>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69" name="Freeform 121">
                  <a:extLst>
                    <a:ext uri="{FF2B5EF4-FFF2-40B4-BE49-F238E27FC236}">
                      <a16:creationId xmlns:a16="http://schemas.microsoft.com/office/drawing/2014/main" id="{103C9920-70B2-4983-BB02-57B4DF286CDD}"/>
                    </a:ext>
                  </a:extLst>
                </p:cNvPr>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CDF4FF">
                    <a:lumMod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0" name="Freeform 122">
                  <a:extLst>
                    <a:ext uri="{FF2B5EF4-FFF2-40B4-BE49-F238E27FC236}">
                      <a16:creationId xmlns:a16="http://schemas.microsoft.com/office/drawing/2014/main" id="{3B3790B6-0400-48C0-8DFF-AC5597BBA297}"/>
                    </a:ext>
                  </a:extLst>
                </p:cNvPr>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1" name="Freeform 125">
                  <a:extLst>
                    <a:ext uri="{FF2B5EF4-FFF2-40B4-BE49-F238E27FC236}">
                      <a16:creationId xmlns:a16="http://schemas.microsoft.com/office/drawing/2014/main" id="{D4204D00-091B-42D2-94CA-5356A5DFD224}"/>
                    </a:ext>
                  </a:extLst>
                </p:cNvPr>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2" name="Freeform 126">
                  <a:extLst>
                    <a:ext uri="{FF2B5EF4-FFF2-40B4-BE49-F238E27FC236}">
                      <a16:creationId xmlns:a16="http://schemas.microsoft.com/office/drawing/2014/main" id="{1B966746-1BA4-4D5C-A653-149FD51789C9}"/>
                    </a:ext>
                  </a:extLst>
                </p:cNvPr>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3" name="Freeform 127">
                  <a:extLst>
                    <a:ext uri="{FF2B5EF4-FFF2-40B4-BE49-F238E27FC236}">
                      <a16:creationId xmlns:a16="http://schemas.microsoft.com/office/drawing/2014/main" id="{49B011A6-0518-4DA7-977A-8ABC37B23A38}"/>
                    </a:ext>
                  </a:extLst>
                </p:cNvPr>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4" name="Freeform 128">
                  <a:extLst>
                    <a:ext uri="{FF2B5EF4-FFF2-40B4-BE49-F238E27FC236}">
                      <a16:creationId xmlns:a16="http://schemas.microsoft.com/office/drawing/2014/main" id="{2AEE649A-5B19-401C-9717-D5ADEDB07C8B}"/>
                    </a:ext>
                  </a:extLst>
                </p:cNvPr>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5" name="Freeform 129">
                  <a:extLst>
                    <a:ext uri="{FF2B5EF4-FFF2-40B4-BE49-F238E27FC236}">
                      <a16:creationId xmlns:a16="http://schemas.microsoft.com/office/drawing/2014/main" id="{2E6893DE-72C4-40A6-84E1-3A5CA6360BA1}"/>
                    </a:ext>
                  </a:extLst>
                </p:cNvPr>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6" name="Freeform 130">
                  <a:extLst>
                    <a:ext uri="{FF2B5EF4-FFF2-40B4-BE49-F238E27FC236}">
                      <a16:creationId xmlns:a16="http://schemas.microsoft.com/office/drawing/2014/main" id="{9D4B9365-63D1-454D-A25C-7FBED52F5A19}"/>
                    </a:ext>
                  </a:extLst>
                </p:cNvPr>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7" name="Freeform 131">
                  <a:extLst>
                    <a:ext uri="{FF2B5EF4-FFF2-40B4-BE49-F238E27FC236}">
                      <a16:creationId xmlns:a16="http://schemas.microsoft.com/office/drawing/2014/main" id="{786DED2E-C706-44F6-A32E-8A54040E4E91}"/>
                    </a:ext>
                  </a:extLst>
                </p:cNvPr>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8" name="Freeform 132">
                  <a:extLst>
                    <a:ext uri="{FF2B5EF4-FFF2-40B4-BE49-F238E27FC236}">
                      <a16:creationId xmlns:a16="http://schemas.microsoft.com/office/drawing/2014/main" id="{5C7970FE-CF66-4F8F-951C-CEB5709119D2}"/>
                    </a:ext>
                  </a:extLst>
                </p:cNvPr>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9" name="Freeform 133">
                  <a:extLst>
                    <a:ext uri="{FF2B5EF4-FFF2-40B4-BE49-F238E27FC236}">
                      <a16:creationId xmlns:a16="http://schemas.microsoft.com/office/drawing/2014/main" id="{D7841E36-7B61-4B6B-9489-8EE73F5E12CA}"/>
                    </a:ext>
                  </a:extLst>
                </p:cNvPr>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0" name="Freeform 134">
                  <a:extLst>
                    <a:ext uri="{FF2B5EF4-FFF2-40B4-BE49-F238E27FC236}">
                      <a16:creationId xmlns:a16="http://schemas.microsoft.com/office/drawing/2014/main" id="{F3333CDC-0D04-418C-85E8-63E1F8F43781}"/>
                    </a:ext>
                  </a:extLst>
                </p:cNvPr>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1" name="Freeform 135">
                  <a:extLst>
                    <a:ext uri="{FF2B5EF4-FFF2-40B4-BE49-F238E27FC236}">
                      <a16:creationId xmlns:a16="http://schemas.microsoft.com/office/drawing/2014/main" id="{D6EF767E-BCFA-4A92-8C47-287535862553}"/>
                    </a:ext>
                  </a:extLst>
                </p:cNvPr>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2" name="Freeform 136">
                  <a:extLst>
                    <a:ext uri="{FF2B5EF4-FFF2-40B4-BE49-F238E27FC236}">
                      <a16:creationId xmlns:a16="http://schemas.microsoft.com/office/drawing/2014/main" id="{8AC76582-508B-429B-9E8D-7225F8E2F8C7}"/>
                    </a:ext>
                  </a:extLst>
                </p:cNvPr>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3" name="Freeform 137">
                  <a:extLst>
                    <a:ext uri="{FF2B5EF4-FFF2-40B4-BE49-F238E27FC236}">
                      <a16:creationId xmlns:a16="http://schemas.microsoft.com/office/drawing/2014/main" id="{0051C111-CC70-4170-8839-14949BAF7E56}"/>
                    </a:ext>
                  </a:extLst>
                </p:cNvPr>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4" name="Freeform 138">
                  <a:extLst>
                    <a:ext uri="{FF2B5EF4-FFF2-40B4-BE49-F238E27FC236}">
                      <a16:creationId xmlns:a16="http://schemas.microsoft.com/office/drawing/2014/main" id="{4FB44039-6656-4C77-B8C1-CC2031B17E92}"/>
                    </a:ext>
                  </a:extLst>
                </p:cNvPr>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5" name="Freeform 139">
                  <a:extLst>
                    <a:ext uri="{FF2B5EF4-FFF2-40B4-BE49-F238E27FC236}">
                      <a16:creationId xmlns:a16="http://schemas.microsoft.com/office/drawing/2014/main" id="{16D01A63-2D0F-4BCC-A3D4-56C1EBBC3842}"/>
                    </a:ext>
                  </a:extLst>
                </p:cNvPr>
                <p:cNvSpPr>
                  <a:spLocks/>
                </p:cNvSpPr>
                <p:nvPr/>
              </p:nvSpPr>
              <p:spPr bwMode="auto">
                <a:xfrm>
                  <a:off x="6218731" y="4008405"/>
                  <a:ext cx="217488" cy="238125"/>
                </a:xfrm>
                <a:custGeom>
                  <a:avLst/>
                  <a:gdLst>
                    <a:gd name="T0" fmla="*/ 131 w 137"/>
                    <a:gd name="T1" fmla="*/ 150 h 150"/>
                    <a:gd name="T2" fmla="*/ 6 w 137"/>
                    <a:gd name="T3" fmla="*/ 150 h 150"/>
                    <a:gd name="T4" fmla="*/ 0 w 137"/>
                    <a:gd name="T5" fmla="*/ 0 h 150"/>
                    <a:gd name="T6" fmla="*/ 137 w 137"/>
                    <a:gd name="T7" fmla="*/ 0 h 150"/>
                    <a:gd name="T8" fmla="*/ 131 w 137"/>
                    <a:gd name="T9" fmla="*/ 150 h 150"/>
                  </a:gdLst>
                  <a:ahLst/>
                  <a:cxnLst>
                    <a:cxn ang="0">
                      <a:pos x="T0" y="T1"/>
                    </a:cxn>
                    <a:cxn ang="0">
                      <a:pos x="T2" y="T3"/>
                    </a:cxn>
                    <a:cxn ang="0">
                      <a:pos x="T4" y="T5"/>
                    </a:cxn>
                    <a:cxn ang="0">
                      <a:pos x="T6" y="T7"/>
                    </a:cxn>
                    <a:cxn ang="0">
                      <a:pos x="T8" y="T9"/>
                    </a:cxn>
                  </a:cxnLst>
                  <a:rect l="0" t="0" r="r" b="b"/>
                  <a:pathLst>
                    <a:path w="137" h="150">
                      <a:moveTo>
                        <a:pt x="131" y="150"/>
                      </a:moveTo>
                      <a:lnTo>
                        <a:pt x="6" y="150"/>
                      </a:lnTo>
                      <a:lnTo>
                        <a:pt x="0" y="0"/>
                      </a:lnTo>
                      <a:lnTo>
                        <a:pt x="137" y="0"/>
                      </a:lnTo>
                      <a:lnTo>
                        <a:pt x="131" y="15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4009E"/>
                    </a:solidFill>
                    <a:effectLst/>
                    <a:uLnTx/>
                    <a:uFillTx/>
                    <a:latin typeface="Segoe UI"/>
                    <a:ea typeface="+mn-ea"/>
                    <a:cs typeface="+mn-cs"/>
                  </a:endParaRPr>
                </a:p>
              </p:txBody>
            </p:sp>
            <p:sp>
              <p:nvSpPr>
                <p:cNvPr id="486" name="Oval 170">
                  <a:extLst>
                    <a:ext uri="{FF2B5EF4-FFF2-40B4-BE49-F238E27FC236}">
                      <a16:creationId xmlns:a16="http://schemas.microsoft.com/office/drawing/2014/main" id="{B47437A6-70A7-40EF-9055-185C49CB704A}"/>
                    </a:ext>
                  </a:extLst>
                </p:cNvPr>
                <p:cNvSpPr>
                  <a:spLocks noChangeArrowheads="1"/>
                </p:cNvSpPr>
                <p:nvPr/>
              </p:nvSpPr>
              <p:spPr bwMode="auto">
                <a:xfrm>
                  <a:off x="6263181" y="3486117"/>
                  <a:ext cx="3175"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87" name="Oval 171">
                  <a:extLst>
                    <a:ext uri="{FF2B5EF4-FFF2-40B4-BE49-F238E27FC236}">
                      <a16:creationId xmlns:a16="http://schemas.microsoft.com/office/drawing/2014/main" id="{AA1EF23C-D4E8-4D3D-B1C3-64D4332D8ACB}"/>
                    </a:ext>
                  </a:extLst>
                </p:cNvPr>
                <p:cNvSpPr>
                  <a:spLocks noChangeArrowheads="1"/>
                </p:cNvSpPr>
                <p:nvPr/>
              </p:nvSpPr>
              <p:spPr bwMode="auto">
                <a:xfrm>
                  <a:off x="6385419" y="3486117"/>
                  <a:ext cx="4763"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grpSp>
        <p:nvGrpSpPr>
          <p:cNvPr id="488" name="Group 487">
            <a:extLst>
              <a:ext uri="{FF2B5EF4-FFF2-40B4-BE49-F238E27FC236}">
                <a16:creationId xmlns:a16="http://schemas.microsoft.com/office/drawing/2014/main" id="{5F45F9B1-0AC8-4761-A2A9-B29AB8585941}"/>
              </a:ext>
            </a:extLst>
          </p:cNvPr>
          <p:cNvGrpSpPr/>
          <p:nvPr/>
        </p:nvGrpSpPr>
        <p:grpSpPr>
          <a:xfrm>
            <a:off x="845693" y="3895443"/>
            <a:ext cx="2394504" cy="1177003"/>
            <a:chOff x="9253177" y="380415"/>
            <a:chExt cx="2610764" cy="1805850"/>
          </a:xfrm>
          <a:solidFill>
            <a:schemeClr val="accent1"/>
          </a:solidFill>
        </p:grpSpPr>
        <p:sp>
          <p:nvSpPr>
            <p:cNvPr id="489" name="Rectangle 488">
              <a:extLst>
                <a:ext uri="{FF2B5EF4-FFF2-40B4-BE49-F238E27FC236}">
                  <a16:creationId xmlns:a16="http://schemas.microsoft.com/office/drawing/2014/main" id="{244B351A-D3B3-4C13-9CF8-B45E56EA3201}"/>
                </a:ext>
              </a:extLst>
            </p:cNvPr>
            <p:cNvSpPr/>
            <p:nvPr/>
          </p:nvSpPr>
          <p:spPr bwMode="auto">
            <a:xfrm>
              <a:off x="9253177" y="380415"/>
              <a:ext cx="2289672" cy="180585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14049" rtl="0" eaLnBrk="1" fontAlgn="auto" latinLnBrk="0" hangingPunct="1">
                <a:lnSpc>
                  <a:spcPct val="90000"/>
                </a:lnSpc>
                <a:spcBef>
                  <a:spcPts val="0"/>
                </a:spcBef>
                <a:spcAft>
                  <a:spcPts val="600"/>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Segoe Pro"/>
                </a:rPr>
                <a:t>“It takes me too </a:t>
              </a:r>
              <a:br>
                <a:rPr kumimoji="0" lang="en-US" sz="1568" b="0" i="0" u="none" strike="noStrike" kern="0" cap="none" spc="0" normalizeH="0" baseline="0" noProof="0">
                  <a:ln>
                    <a:noFill/>
                  </a:ln>
                  <a:solidFill>
                    <a:srgbClr val="FFFFFF"/>
                  </a:solidFill>
                  <a:effectLst/>
                  <a:uLnTx/>
                  <a:uFillTx/>
                  <a:latin typeface="Segoe UI"/>
                  <a:ea typeface="+mn-ea"/>
                  <a:cs typeface="Segoe Pro"/>
                </a:rPr>
              </a:br>
              <a:r>
                <a:rPr kumimoji="0" lang="en-US" sz="1568" b="0" i="0" u="none" strike="noStrike" kern="0" cap="none" spc="0" normalizeH="0" baseline="0" noProof="0">
                  <a:ln>
                    <a:noFill/>
                  </a:ln>
                  <a:solidFill>
                    <a:srgbClr val="FFFFFF"/>
                  </a:solidFill>
                  <a:effectLst/>
                  <a:uLnTx/>
                  <a:uFillTx/>
                  <a:latin typeface="Segoe UI"/>
                  <a:ea typeface="+mn-ea"/>
                  <a:cs typeface="Segoe Pro"/>
                </a:rPr>
                <a:t>long to detect and debug the errors </a:t>
              </a:r>
              <a:br>
                <a:rPr kumimoji="0" lang="en-US" sz="1568" b="0" i="0" u="none" strike="noStrike" kern="0" cap="none" spc="0" normalizeH="0" baseline="0" noProof="0">
                  <a:ln>
                    <a:noFill/>
                  </a:ln>
                  <a:solidFill>
                    <a:srgbClr val="FFFFFF"/>
                  </a:solidFill>
                  <a:effectLst/>
                  <a:uLnTx/>
                  <a:uFillTx/>
                  <a:latin typeface="Segoe UI"/>
                  <a:ea typeface="+mn-ea"/>
                  <a:cs typeface="Segoe Pro"/>
                </a:rPr>
              </a:br>
              <a:r>
                <a:rPr kumimoji="0" lang="en-US" sz="1568" b="0" i="0" u="none" strike="noStrike" kern="0" cap="none" spc="0" normalizeH="0" baseline="0" noProof="0">
                  <a:ln>
                    <a:noFill/>
                  </a:ln>
                  <a:solidFill>
                    <a:srgbClr val="FFFFFF"/>
                  </a:solidFill>
                  <a:effectLst/>
                  <a:uLnTx/>
                  <a:uFillTx/>
                  <a:latin typeface="Segoe UI"/>
                  <a:ea typeface="+mn-ea"/>
                  <a:cs typeface="Segoe Pro"/>
                </a:rPr>
                <a:t>in my apps.”</a:t>
              </a:r>
            </a:p>
          </p:txBody>
        </p:sp>
        <p:sp>
          <p:nvSpPr>
            <p:cNvPr id="490" name="Right Triangle 489">
              <a:extLst>
                <a:ext uri="{FF2B5EF4-FFF2-40B4-BE49-F238E27FC236}">
                  <a16:creationId xmlns:a16="http://schemas.microsoft.com/office/drawing/2014/main" id="{FE0B659B-6EDB-4921-853D-7839147B0C90}"/>
                </a:ext>
              </a:extLst>
            </p:cNvPr>
            <p:cNvSpPr/>
            <p:nvPr/>
          </p:nvSpPr>
          <p:spPr bwMode="auto">
            <a:xfrm rot="10800000" flipH="1">
              <a:off x="11530113" y="914542"/>
              <a:ext cx="333828" cy="333827"/>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91" name="Group 490">
            <a:extLst>
              <a:ext uri="{FF2B5EF4-FFF2-40B4-BE49-F238E27FC236}">
                <a16:creationId xmlns:a16="http://schemas.microsoft.com/office/drawing/2014/main" id="{B7D6ECD1-DFA6-4EDA-84A4-4D63D2F73E8D}"/>
              </a:ext>
            </a:extLst>
          </p:cNvPr>
          <p:cNvGrpSpPr/>
          <p:nvPr/>
        </p:nvGrpSpPr>
        <p:grpSpPr>
          <a:xfrm>
            <a:off x="717451" y="2522790"/>
            <a:ext cx="3030975" cy="914222"/>
            <a:chOff x="8368469" y="289511"/>
            <a:chExt cx="3479127" cy="1049396"/>
          </a:xfrm>
          <a:solidFill>
            <a:schemeClr val="accent1"/>
          </a:solidFill>
        </p:grpSpPr>
        <p:sp>
          <p:nvSpPr>
            <p:cNvPr id="492" name="Rectangle 491">
              <a:extLst>
                <a:ext uri="{FF2B5EF4-FFF2-40B4-BE49-F238E27FC236}">
                  <a16:creationId xmlns:a16="http://schemas.microsoft.com/office/drawing/2014/main" id="{F1B3DA62-09D1-46B4-953D-2A8EED63F17B}"/>
                </a:ext>
              </a:extLst>
            </p:cNvPr>
            <p:cNvSpPr/>
            <p:nvPr/>
          </p:nvSpPr>
          <p:spPr bwMode="auto">
            <a:xfrm>
              <a:off x="8368469" y="289511"/>
              <a:ext cx="3174379" cy="1049396"/>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14049" rtl="0" eaLnBrk="1" fontAlgn="auto" latinLnBrk="0" hangingPunct="1">
                <a:lnSpc>
                  <a:spcPct val="90000"/>
                </a:lnSpc>
                <a:spcBef>
                  <a:spcPts val="0"/>
                </a:spcBef>
                <a:spcAft>
                  <a:spcPts val="600"/>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Segoe Pro"/>
                </a:rPr>
                <a:t>“How do I understand and optimize performance of my app?”</a:t>
              </a:r>
            </a:p>
          </p:txBody>
        </p:sp>
        <p:sp>
          <p:nvSpPr>
            <p:cNvPr id="493" name="Right Triangle 492">
              <a:extLst>
                <a:ext uri="{FF2B5EF4-FFF2-40B4-BE49-F238E27FC236}">
                  <a16:creationId xmlns:a16="http://schemas.microsoft.com/office/drawing/2014/main" id="{3874EAEC-C083-4731-A691-9D6FC85EA81B}"/>
                </a:ext>
              </a:extLst>
            </p:cNvPr>
            <p:cNvSpPr/>
            <p:nvPr/>
          </p:nvSpPr>
          <p:spPr bwMode="auto">
            <a:xfrm rot="5400000" flipH="1">
              <a:off x="11513768" y="870809"/>
              <a:ext cx="333827" cy="333828"/>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94" name="Group 493">
            <a:extLst>
              <a:ext uri="{FF2B5EF4-FFF2-40B4-BE49-F238E27FC236}">
                <a16:creationId xmlns:a16="http://schemas.microsoft.com/office/drawing/2014/main" id="{17EC4E90-47DE-4728-BA57-B7C763969B4E}"/>
              </a:ext>
            </a:extLst>
          </p:cNvPr>
          <p:cNvGrpSpPr/>
          <p:nvPr/>
        </p:nvGrpSpPr>
        <p:grpSpPr>
          <a:xfrm>
            <a:off x="3617105" y="1586630"/>
            <a:ext cx="3225916" cy="1205049"/>
            <a:chOff x="8023052" y="289511"/>
            <a:chExt cx="3702892" cy="1383224"/>
          </a:xfrm>
          <a:solidFill>
            <a:schemeClr val="accent1"/>
          </a:solidFill>
        </p:grpSpPr>
        <p:sp>
          <p:nvSpPr>
            <p:cNvPr id="495" name="Rectangle 494">
              <a:extLst>
                <a:ext uri="{FF2B5EF4-FFF2-40B4-BE49-F238E27FC236}">
                  <a16:creationId xmlns:a16="http://schemas.microsoft.com/office/drawing/2014/main" id="{728BA9DE-AF13-4A94-B25C-08949F3BB3E9}"/>
                </a:ext>
              </a:extLst>
            </p:cNvPr>
            <p:cNvSpPr/>
            <p:nvPr/>
          </p:nvSpPr>
          <p:spPr bwMode="auto">
            <a:xfrm>
              <a:off x="8023052" y="289511"/>
              <a:ext cx="3702892" cy="1049396"/>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14049" rtl="0" eaLnBrk="1" fontAlgn="auto" latinLnBrk="0" hangingPunct="1">
                <a:lnSpc>
                  <a:spcPct val="90000"/>
                </a:lnSpc>
                <a:spcBef>
                  <a:spcPts val="0"/>
                </a:spcBef>
                <a:spcAft>
                  <a:spcPts val="600"/>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Segoe Pro"/>
                </a:rPr>
                <a:t>“I need to diagnose problems across the app, VMs, networks, and PaaS services.”</a:t>
              </a:r>
            </a:p>
          </p:txBody>
        </p:sp>
        <p:sp>
          <p:nvSpPr>
            <p:cNvPr id="496" name="Right Triangle 495">
              <a:extLst>
                <a:ext uri="{FF2B5EF4-FFF2-40B4-BE49-F238E27FC236}">
                  <a16:creationId xmlns:a16="http://schemas.microsoft.com/office/drawing/2014/main" id="{76E8060C-FA98-444E-9E47-366F0FF1EFE8}"/>
                </a:ext>
              </a:extLst>
            </p:cNvPr>
            <p:cNvSpPr/>
            <p:nvPr/>
          </p:nvSpPr>
          <p:spPr bwMode="auto">
            <a:xfrm rot="16200000" flipH="1">
              <a:off x="9036961" y="1338907"/>
              <a:ext cx="333828" cy="333828"/>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97" name="Group 496">
            <a:extLst>
              <a:ext uri="{FF2B5EF4-FFF2-40B4-BE49-F238E27FC236}">
                <a16:creationId xmlns:a16="http://schemas.microsoft.com/office/drawing/2014/main" id="{94DF5E2C-47B6-4858-BECF-2229C6493D91}"/>
              </a:ext>
            </a:extLst>
          </p:cNvPr>
          <p:cNvGrpSpPr/>
          <p:nvPr/>
        </p:nvGrpSpPr>
        <p:grpSpPr>
          <a:xfrm>
            <a:off x="7307314" y="1769696"/>
            <a:ext cx="1851472" cy="1205051"/>
            <a:chOff x="8655359" y="289509"/>
            <a:chExt cx="2125225" cy="1383226"/>
          </a:xfrm>
          <a:solidFill>
            <a:schemeClr val="accent1"/>
          </a:solidFill>
        </p:grpSpPr>
        <p:sp>
          <p:nvSpPr>
            <p:cNvPr id="498" name="Rectangle 497">
              <a:extLst>
                <a:ext uri="{FF2B5EF4-FFF2-40B4-BE49-F238E27FC236}">
                  <a16:creationId xmlns:a16="http://schemas.microsoft.com/office/drawing/2014/main" id="{BE5CC305-9938-4D4A-B72C-BD5C609D9B16}"/>
                </a:ext>
              </a:extLst>
            </p:cNvPr>
            <p:cNvSpPr/>
            <p:nvPr/>
          </p:nvSpPr>
          <p:spPr bwMode="auto">
            <a:xfrm>
              <a:off x="8655359" y="289509"/>
              <a:ext cx="2125225" cy="1049396"/>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14049" rtl="0" eaLnBrk="1" fontAlgn="auto" latinLnBrk="0" hangingPunct="1">
                <a:lnSpc>
                  <a:spcPct val="90000"/>
                </a:lnSpc>
                <a:spcBef>
                  <a:spcPts val="0"/>
                </a:spcBef>
                <a:spcAft>
                  <a:spcPts val="600"/>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Segoe Pro"/>
                </a:rPr>
                <a:t>“Are we meeting our customer SLAs?”</a:t>
              </a:r>
            </a:p>
          </p:txBody>
        </p:sp>
        <p:sp>
          <p:nvSpPr>
            <p:cNvPr id="499" name="Right Triangle 498">
              <a:extLst>
                <a:ext uri="{FF2B5EF4-FFF2-40B4-BE49-F238E27FC236}">
                  <a16:creationId xmlns:a16="http://schemas.microsoft.com/office/drawing/2014/main" id="{C673ADDD-F4A5-4BB6-97EC-CE093F14C353}"/>
                </a:ext>
              </a:extLst>
            </p:cNvPr>
            <p:cNvSpPr/>
            <p:nvPr/>
          </p:nvSpPr>
          <p:spPr bwMode="auto">
            <a:xfrm rot="5400000">
              <a:off x="8765362" y="1338907"/>
              <a:ext cx="333828" cy="333828"/>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00" name="Group 499">
            <a:extLst>
              <a:ext uri="{FF2B5EF4-FFF2-40B4-BE49-F238E27FC236}">
                <a16:creationId xmlns:a16="http://schemas.microsoft.com/office/drawing/2014/main" id="{5141923F-74DD-4A7A-AD46-2F9750F4C30F}"/>
              </a:ext>
            </a:extLst>
          </p:cNvPr>
          <p:cNvGrpSpPr/>
          <p:nvPr/>
        </p:nvGrpSpPr>
        <p:grpSpPr>
          <a:xfrm>
            <a:off x="8602148" y="2797075"/>
            <a:ext cx="3322933" cy="930733"/>
            <a:chOff x="8047327" y="270559"/>
            <a:chExt cx="3398538" cy="1068348"/>
          </a:xfrm>
          <a:solidFill>
            <a:schemeClr val="accent1"/>
          </a:solidFill>
        </p:grpSpPr>
        <p:sp>
          <p:nvSpPr>
            <p:cNvPr id="501" name="Rectangle 500">
              <a:extLst>
                <a:ext uri="{FF2B5EF4-FFF2-40B4-BE49-F238E27FC236}">
                  <a16:creationId xmlns:a16="http://schemas.microsoft.com/office/drawing/2014/main" id="{26A11EDA-BD19-4468-B17A-402F4346D9D8}"/>
                </a:ext>
              </a:extLst>
            </p:cNvPr>
            <p:cNvSpPr/>
            <p:nvPr/>
          </p:nvSpPr>
          <p:spPr bwMode="auto">
            <a:xfrm>
              <a:off x="8381154" y="270559"/>
              <a:ext cx="3064711" cy="106834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14049" rtl="0" eaLnBrk="1" fontAlgn="auto" latinLnBrk="0" hangingPunct="1">
                <a:lnSpc>
                  <a:spcPct val="90000"/>
                </a:lnSpc>
                <a:spcBef>
                  <a:spcPts val="0"/>
                </a:spcBef>
                <a:spcAft>
                  <a:spcPts val="600"/>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a:ea typeface="+mn-ea"/>
                  <a:cs typeface="Segoe Pro"/>
                </a:rPr>
                <a:t>“Are our customers engaged? Which features are driving engagement?”</a:t>
              </a:r>
            </a:p>
          </p:txBody>
        </p:sp>
        <p:sp>
          <p:nvSpPr>
            <p:cNvPr id="502" name="Right Triangle 501">
              <a:extLst>
                <a:ext uri="{FF2B5EF4-FFF2-40B4-BE49-F238E27FC236}">
                  <a16:creationId xmlns:a16="http://schemas.microsoft.com/office/drawing/2014/main" id="{29E87B76-74FF-4FF9-B15C-36D92B78F3F7}"/>
                </a:ext>
              </a:extLst>
            </p:cNvPr>
            <p:cNvSpPr/>
            <p:nvPr/>
          </p:nvSpPr>
          <p:spPr bwMode="auto">
            <a:xfrm rot="16200000">
              <a:off x="8047326" y="430071"/>
              <a:ext cx="333829" cy="333828"/>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03" name="Group 502">
            <a:extLst>
              <a:ext uri="{FF2B5EF4-FFF2-40B4-BE49-F238E27FC236}">
                <a16:creationId xmlns:a16="http://schemas.microsoft.com/office/drawing/2014/main" id="{6A06DCF7-35FD-4748-9160-47A3C616AC83}"/>
              </a:ext>
            </a:extLst>
          </p:cNvPr>
          <p:cNvGrpSpPr/>
          <p:nvPr/>
        </p:nvGrpSpPr>
        <p:grpSpPr>
          <a:xfrm>
            <a:off x="9716215" y="4423374"/>
            <a:ext cx="2206237" cy="797339"/>
            <a:chOff x="8062763" y="270559"/>
            <a:chExt cx="3443715" cy="1068348"/>
          </a:xfrm>
          <a:solidFill>
            <a:schemeClr val="accent1"/>
          </a:solidFill>
        </p:grpSpPr>
        <p:sp>
          <p:nvSpPr>
            <p:cNvPr id="504" name="Rectangle 503">
              <a:extLst>
                <a:ext uri="{FF2B5EF4-FFF2-40B4-BE49-F238E27FC236}">
                  <a16:creationId xmlns:a16="http://schemas.microsoft.com/office/drawing/2014/main" id="{0993EA86-EC05-4E7D-A5D7-F0F1B08DF5F8}"/>
                </a:ext>
              </a:extLst>
            </p:cNvPr>
            <p:cNvSpPr/>
            <p:nvPr/>
          </p:nvSpPr>
          <p:spPr bwMode="auto">
            <a:xfrm>
              <a:off x="8381153" y="270559"/>
              <a:ext cx="3125325" cy="106834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54468" marR="0" lvl="0" indent="-54468" algn="l" defTabSz="932418" rtl="0" eaLnBrk="1" fontAlgn="auto" latinLnBrk="0" hangingPunct="1">
                <a:lnSpc>
                  <a:spcPct val="90000"/>
                </a:lnSpc>
                <a:spcBef>
                  <a:spcPts val="0"/>
                </a:spcBef>
                <a:spcAft>
                  <a:spcPts val="612"/>
                </a:spcAft>
                <a:buClrTx/>
                <a:buSzPct val="90000"/>
                <a:buFontTx/>
                <a:buNone/>
                <a:tabLst/>
                <a:defRPr/>
              </a:pPr>
              <a:r>
                <a:rPr kumimoji="0" lang="en-US" sz="1568" b="0" i="0" u="none" strike="noStrike" kern="0" cap="none" spc="0" normalizeH="0" baseline="0" noProof="0">
                  <a:ln>
                    <a:noFill/>
                  </a:ln>
                  <a:solidFill>
                    <a:srgbClr val="FFFFFF"/>
                  </a:solidFill>
                  <a:effectLst/>
                  <a:uLnTx/>
                  <a:uFillTx/>
                  <a:latin typeface="Segoe UI Semilight"/>
                  <a:ea typeface="+mn-ea"/>
                  <a:cs typeface="Segoe Pro"/>
                </a:rPr>
                <a:t>“Is there is a security threat!!!!!”</a:t>
              </a:r>
            </a:p>
          </p:txBody>
        </p:sp>
        <p:sp>
          <p:nvSpPr>
            <p:cNvPr id="505" name="Right Triangle 504">
              <a:extLst>
                <a:ext uri="{FF2B5EF4-FFF2-40B4-BE49-F238E27FC236}">
                  <a16:creationId xmlns:a16="http://schemas.microsoft.com/office/drawing/2014/main" id="{CB0F5FB1-A650-484D-8CBD-C853F2C35735}"/>
                </a:ext>
              </a:extLst>
            </p:cNvPr>
            <p:cNvSpPr/>
            <p:nvPr/>
          </p:nvSpPr>
          <p:spPr bwMode="auto">
            <a:xfrm rot="10987962">
              <a:off x="8062763" y="460602"/>
              <a:ext cx="333829" cy="333827"/>
            </a:xfrm>
            <a:prstGeom prst="r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506" name="Picture 6" descr="Image result for mustache">
            <a:extLst>
              <a:ext uri="{FF2B5EF4-FFF2-40B4-BE49-F238E27FC236}">
                <a16:creationId xmlns:a16="http://schemas.microsoft.com/office/drawing/2014/main" id="{81A6101A-6ABB-4594-8772-E95FA1C77A73}"/>
              </a:ext>
            </a:extLst>
          </p:cNvPr>
          <p:cNvPicPr>
            <a:picLocks noChangeAspect="1" noChangeArrowheads="1"/>
          </p:cNvPicPr>
          <p:nvPr/>
        </p:nvPicPr>
        <p:blipFill>
          <a:blip r:embed="rId3" cstate="email">
            <a:biLevel thresh="75000"/>
            <a:extLst>
              <a:ext uri="{BEBA8EAE-BF5A-486C-A8C5-ECC9F3942E4B}">
                <a14:imgProps xmlns:a14="http://schemas.microsoft.com/office/drawing/2010/main">
                  <a14:imgLayer r:embed="rId4">
                    <a14:imgEffect>
                      <a14:sharpenSoften amount="100000"/>
                    </a14:imgEffect>
                    <a14:imgEffect>
                      <a14:colorTemperature colorTemp="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674515" y="3951338"/>
            <a:ext cx="739809" cy="739809"/>
          </a:xfrm>
          <a:prstGeom prst="rect">
            <a:avLst/>
          </a:prstGeom>
          <a:solidFill>
            <a:srgbClr val="D83B01">
              <a:alpha val="0"/>
            </a:srgbClr>
          </a:solidFill>
        </p:spPr>
      </p:pic>
    </p:spTree>
    <p:extLst>
      <p:ext uri="{BB962C8B-B14F-4D97-AF65-F5344CB8AC3E}">
        <p14:creationId xmlns:p14="http://schemas.microsoft.com/office/powerpoint/2010/main" val="816566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8"/>
                                        </p:tgtEl>
                                        <p:attrNameLst>
                                          <p:attrName>style.visibility</p:attrName>
                                        </p:attrNameLst>
                                      </p:cBhvr>
                                      <p:to>
                                        <p:strVal val="visible"/>
                                      </p:to>
                                    </p:set>
                                    <p:animEffect transition="in" filter="fade">
                                      <p:cBhvr>
                                        <p:cTn id="7" dur="750"/>
                                        <p:tgtEl>
                                          <p:spTgt spid="48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91"/>
                                        </p:tgtEl>
                                        <p:attrNameLst>
                                          <p:attrName>style.visibility</p:attrName>
                                        </p:attrNameLst>
                                      </p:cBhvr>
                                      <p:to>
                                        <p:strVal val="visible"/>
                                      </p:to>
                                    </p:set>
                                    <p:animEffect transition="in" filter="fade">
                                      <p:cBhvr>
                                        <p:cTn id="11" dur="750"/>
                                        <p:tgtEl>
                                          <p:spTgt spid="49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94"/>
                                        </p:tgtEl>
                                        <p:attrNameLst>
                                          <p:attrName>style.visibility</p:attrName>
                                        </p:attrNameLst>
                                      </p:cBhvr>
                                      <p:to>
                                        <p:strVal val="visible"/>
                                      </p:to>
                                    </p:set>
                                    <p:animEffect transition="in" filter="fade">
                                      <p:cBhvr>
                                        <p:cTn id="15" dur="750"/>
                                        <p:tgtEl>
                                          <p:spTgt spid="49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497"/>
                                        </p:tgtEl>
                                        <p:attrNameLst>
                                          <p:attrName>style.visibility</p:attrName>
                                        </p:attrNameLst>
                                      </p:cBhvr>
                                      <p:to>
                                        <p:strVal val="visible"/>
                                      </p:to>
                                    </p:set>
                                    <p:animEffect transition="in" filter="fade">
                                      <p:cBhvr>
                                        <p:cTn id="19" dur="750"/>
                                        <p:tgtEl>
                                          <p:spTgt spid="497"/>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500"/>
                                        </p:tgtEl>
                                        <p:attrNameLst>
                                          <p:attrName>style.visibility</p:attrName>
                                        </p:attrNameLst>
                                      </p:cBhvr>
                                      <p:to>
                                        <p:strVal val="visible"/>
                                      </p:to>
                                    </p:set>
                                    <p:animEffect transition="in" filter="fade">
                                      <p:cBhvr>
                                        <p:cTn id="23" dur="750"/>
                                        <p:tgtEl>
                                          <p:spTgt spid="500"/>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503"/>
                                        </p:tgtEl>
                                        <p:attrNameLst>
                                          <p:attrName>style.visibility</p:attrName>
                                        </p:attrNameLst>
                                      </p:cBhvr>
                                      <p:to>
                                        <p:strVal val="visible"/>
                                      </p:to>
                                    </p:set>
                                    <p:animEffect transition="in" filter="fade">
                                      <p:cBhvr>
                                        <p:cTn id="27" dur="850"/>
                                        <p:tgtEl>
                                          <p:spTgt spid="50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99"/>
                                        </p:tgtEl>
                                        <p:attrNameLst>
                                          <p:attrName>style.visibility</p:attrName>
                                        </p:attrNameLst>
                                      </p:cBhvr>
                                      <p:to>
                                        <p:strVal val="visible"/>
                                      </p:to>
                                    </p:set>
                                    <p:animEffect transition="in" filter="fade">
                                      <p:cBhvr>
                                        <p:cTn id="30" dur="850"/>
                                        <p:tgtEl>
                                          <p:spTgt spid="399"/>
                                        </p:tgtEl>
                                      </p:cBhvr>
                                    </p:animEffect>
                                  </p:childTnLst>
                                </p:cTn>
                              </p:par>
                              <p:par>
                                <p:cTn id="31" presetID="10" presetClass="entr" presetSubtype="0" fill="hold" nodeType="withEffect">
                                  <p:stCondLst>
                                    <p:cond delay="0"/>
                                  </p:stCondLst>
                                  <p:childTnLst>
                                    <p:set>
                                      <p:cBhvr>
                                        <p:cTn id="32" dur="1" fill="hold">
                                          <p:stCondLst>
                                            <p:cond delay="0"/>
                                          </p:stCondLst>
                                        </p:cTn>
                                        <p:tgtEl>
                                          <p:spTgt spid="506"/>
                                        </p:tgtEl>
                                        <p:attrNameLst>
                                          <p:attrName>style.visibility</p:attrName>
                                        </p:attrNameLst>
                                      </p:cBhvr>
                                      <p:to>
                                        <p:strVal val="visible"/>
                                      </p:to>
                                    </p:set>
                                    <p:animEffect transition="in" filter="fade">
                                      <p:cBhvr>
                                        <p:cTn id="33" dur="850"/>
                                        <p:tgtEl>
                                          <p:spTgt spid="5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639324" y="1372589"/>
            <a:ext cx="4877137" cy="5246254"/>
          </a:xfrm>
          <a:prstGeom prst="rect">
            <a:avLst/>
          </a:prstGeom>
          <a:solidFill>
            <a:schemeClr val="accent1"/>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431651" y="1372589"/>
            <a:ext cx="4697383" cy="5246254"/>
          </a:xfrm>
          <a:prstGeom prst="rect">
            <a:avLst/>
          </a:prstGeom>
          <a:solidFill>
            <a:srgbClr val="0070C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Semilight"/>
              <a:ea typeface="Segoe UI" pitchFamily="34" charset="0"/>
              <a:cs typeface="Segoe UI" pitchFamily="34" charset="0"/>
            </a:endParaRPr>
          </a:p>
        </p:txBody>
      </p:sp>
      <p:grpSp>
        <p:nvGrpSpPr>
          <p:cNvPr id="6" name="Group 5"/>
          <p:cNvGrpSpPr/>
          <p:nvPr/>
        </p:nvGrpSpPr>
        <p:grpSpPr>
          <a:xfrm>
            <a:off x="747780" y="1483091"/>
            <a:ext cx="4712114" cy="4983344"/>
            <a:chOff x="495300" y="1654927"/>
            <a:chExt cx="4807284" cy="5083990"/>
          </a:xfrm>
        </p:grpSpPr>
        <p:sp>
          <p:nvSpPr>
            <p:cNvPr id="237" name="Content Placeholder 2"/>
            <p:cNvSpPr txBox="1">
              <a:spLocks/>
            </p:cNvSpPr>
            <p:nvPr/>
          </p:nvSpPr>
          <p:spPr>
            <a:xfrm>
              <a:off x="495300" y="1654927"/>
              <a:ext cx="4807284" cy="3084957"/>
            </a:xfrm>
            <a:prstGeom prst="rect">
              <a:avLst/>
            </a:prstGeom>
            <a:noFill/>
          </p:spPr>
          <p:txBody>
            <a:bodyPr vert="horz" wrap="square" lIns="179183" tIns="143346" rIns="179183" bIns="14334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016">
                <a:spcBef>
                  <a:spcPts val="588"/>
                </a:spcBef>
                <a:buNone/>
                <a:defRPr/>
              </a:pPr>
              <a:r>
                <a:rPr lang="en-US" sz="3133">
                  <a:solidFill>
                    <a:schemeClr val="bg1"/>
                  </a:solidFill>
                  <a:latin typeface="Segoe UI Light"/>
                  <a:cs typeface="Segoe UI" pitchFamily="34" charset="0"/>
                </a:rPr>
                <a:t>Traditional model</a:t>
              </a:r>
            </a:p>
            <a:p>
              <a:pPr marL="223925" lvl="1" indent="-223925" defTabSz="914016">
                <a:spcBef>
                  <a:spcPts val="1172"/>
                </a:spcBef>
                <a:defRPr/>
              </a:pPr>
              <a:r>
                <a:rPr lang="en-US" sz="1567">
                  <a:solidFill>
                    <a:schemeClr val="bg1"/>
                  </a:solidFill>
                  <a:latin typeface="Segoe UI Semilight"/>
                  <a:cs typeface="Segoe UI" pitchFamily="34" charset="0"/>
                </a:rPr>
                <a:t>Tight coupling between infrastructure and apps </a:t>
              </a:r>
            </a:p>
            <a:p>
              <a:pPr marL="223925" lvl="1" indent="-223925" defTabSz="914016">
                <a:spcBef>
                  <a:spcPts val="1172"/>
                </a:spcBef>
                <a:defRPr/>
              </a:pPr>
              <a:r>
                <a:rPr lang="en-US" sz="1567">
                  <a:solidFill>
                    <a:schemeClr val="bg1"/>
                  </a:solidFill>
                  <a:latin typeface="Segoe UI Semilight"/>
                  <a:cs typeface="Segoe UI" pitchFamily="34" charset="0"/>
                </a:rPr>
                <a:t>Siloed infrastructure and operations</a:t>
              </a:r>
            </a:p>
            <a:p>
              <a:pPr marL="223925" lvl="1" indent="-223925" defTabSz="914016">
                <a:spcBef>
                  <a:spcPts val="1172"/>
                </a:spcBef>
                <a:defRPr/>
              </a:pPr>
              <a:r>
                <a:rPr lang="en-US" sz="1567">
                  <a:solidFill>
                    <a:schemeClr val="bg1"/>
                  </a:solidFill>
                  <a:latin typeface="Segoe UI Semilight"/>
                  <a:cs typeface="Segoe UI" pitchFamily="34" charset="0"/>
                </a:rPr>
                <a:t>Highly customized processes and configurations</a:t>
              </a:r>
            </a:p>
            <a:p>
              <a:pPr marL="223925" lvl="1" indent="-223925" defTabSz="914016">
                <a:spcBef>
                  <a:spcPts val="1172"/>
                </a:spcBef>
                <a:defRPr/>
              </a:pPr>
              <a:r>
                <a:rPr lang="en-US" sz="1567">
                  <a:solidFill>
                    <a:schemeClr val="bg1"/>
                  </a:solidFill>
                  <a:latin typeface="Segoe UI Semilight"/>
                  <a:cs typeface="Segoe UI" pitchFamily="34" charset="0"/>
                </a:rPr>
                <a:t>….requires traditional management</a:t>
              </a:r>
            </a:p>
          </p:txBody>
        </p:sp>
        <p:grpSp>
          <p:nvGrpSpPr>
            <p:cNvPr id="241" name="Group 240"/>
            <p:cNvGrpSpPr/>
            <p:nvPr/>
          </p:nvGrpSpPr>
          <p:grpSpPr>
            <a:xfrm>
              <a:off x="1653411" y="4081245"/>
              <a:ext cx="2253762" cy="2047306"/>
              <a:chOff x="7175501" y="2655977"/>
              <a:chExt cx="4432300" cy="4026273"/>
            </a:xfrm>
          </p:grpSpPr>
          <p:sp>
            <p:nvSpPr>
              <p:cNvPr id="242" name="Freeform 241"/>
              <p:cNvSpPr>
                <a:spLocks noEditPoints="1"/>
              </p:cNvSpPr>
              <p:nvPr/>
            </p:nvSpPr>
            <p:spPr bwMode="black">
              <a:xfrm>
                <a:off x="7629036"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43" name="Freeform 242"/>
              <p:cNvSpPr>
                <a:spLocks noEditPoints="1"/>
              </p:cNvSpPr>
              <p:nvPr/>
            </p:nvSpPr>
            <p:spPr bwMode="black">
              <a:xfrm>
                <a:off x="8585023"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44" name="Freeform 243"/>
              <p:cNvSpPr>
                <a:spLocks noEditPoints="1"/>
              </p:cNvSpPr>
              <p:nvPr/>
            </p:nvSpPr>
            <p:spPr bwMode="black">
              <a:xfrm>
                <a:off x="9532530"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45" name="Freeform 244"/>
              <p:cNvSpPr>
                <a:spLocks noEditPoints="1"/>
              </p:cNvSpPr>
              <p:nvPr/>
            </p:nvSpPr>
            <p:spPr bwMode="black">
              <a:xfrm>
                <a:off x="10496996" y="5335115"/>
                <a:ext cx="657271" cy="132543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a:gradFill>
                    <a:gsLst>
                      <a:gs pos="2917">
                        <a:srgbClr val="505050"/>
                      </a:gs>
                      <a:gs pos="30000">
                        <a:srgbClr val="505050"/>
                      </a:gs>
                    </a:gsLst>
                    <a:lin ang="5400000" scaled="0"/>
                  </a:gradFill>
                  <a:latin typeface="Segoe UI"/>
                  <a:ea typeface="Segoe UI" pitchFamily="34" charset="0"/>
                  <a:cs typeface="Segoe UI" pitchFamily="34" charset="0"/>
                </a:endParaRPr>
              </a:p>
            </p:txBody>
          </p:sp>
          <p:grpSp>
            <p:nvGrpSpPr>
              <p:cNvPr id="246" name="Group 245"/>
              <p:cNvGrpSpPr/>
              <p:nvPr/>
            </p:nvGrpSpPr>
            <p:grpSpPr>
              <a:xfrm>
                <a:off x="8536042" y="5353483"/>
                <a:ext cx="2215581" cy="426650"/>
                <a:chOff x="8409042" y="5353483"/>
                <a:chExt cx="2215581" cy="426650"/>
              </a:xfrm>
            </p:grpSpPr>
            <p:sp>
              <p:nvSpPr>
                <p:cNvPr id="305" name="Rectangle 304"/>
                <p:cNvSpPr/>
                <p:nvPr/>
              </p:nvSpPr>
              <p:spPr bwMode="auto">
                <a:xfrm>
                  <a:off x="10421206"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6" name="Rectangle 305"/>
                <p:cNvSpPr/>
                <p:nvPr/>
              </p:nvSpPr>
              <p:spPr bwMode="auto">
                <a:xfrm>
                  <a:off x="9434917"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7" name="Rectangle 306"/>
                <p:cNvSpPr/>
                <p:nvPr/>
              </p:nvSpPr>
              <p:spPr bwMode="auto">
                <a:xfrm>
                  <a:off x="8409042"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a:ea typeface="Segoe UI" pitchFamily="34" charset="0"/>
                    <a:cs typeface="Segoe UI" pitchFamily="34" charset="0"/>
                  </a:endParaRPr>
                </a:p>
              </p:txBody>
            </p:sp>
          </p:grpSp>
          <p:sp>
            <p:nvSpPr>
              <p:cNvPr id="247" name="Rectangle 246"/>
              <p:cNvSpPr/>
              <p:nvPr/>
            </p:nvSpPr>
            <p:spPr bwMode="auto">
              <a:xfrm>
                <a:off x="7175501" y="6638848"/>
                <a:ext cx="4432300" cy="43402"/>
              </a:xfrm>
              <a:prstGeom prst="rect">
                <a:avLst/>
              </a:prstGeom>
              <a:solidFill>
                <a:srgbClr val="D2D2D2">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48" name="Freeform 247"/>
              <p:cNvSpPr>
                <a:spLocks noEditPoints="1"/>
              </p:cNvSpPr>
              <p:nvPr/>
            </p:nvSpPr>
            <p:spPr bwMode="black">
              <a:xfrm>
                <a:off x="7956968"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cxnSp>
            <p:nvCxnSpPr>
              <p:cNvPr id="249" name="Straight Connector 248"/>
              <p:cNvCxnSpPr/>
              <p:nvPr/>
            </p:nvCxnSpPr>
            <p:spPr>
              <a:xfrm flipV="1">
                <a:off x="8386174" y="3645257"/>
                <a:ext cx="0" cy="1193825"/>
              </a:xfrm>
              <a:prstGeom prst="line">
                <a:avLst/>
              </a:prstGeom>
              <a:noFill/>
              <a:ln w="34925" cap="flat" cmpd="sng" algn="ctr">
                <a:solidFill>
                  <a:srgbClr val="505050"/>
                </a:solidFill>
                <a:prstDash val="sysDot"/>
                <a:headEnd type="none"/>
                <a:tailEnd type="none"/>
              </a:ln>
              <a:effectLst/>
            </p:spPr>
          </p:cxnSp>
          <p:sp>
            <p:nvSpPr>
              <p:cNvPr id="250" name="Oval 5"/>
              <p:cNvSpPr>
                <a:spLocks noChangeArrowheads="1"/>
              </p:cNvSpPr>
              <p:nvPr/>
            </p:nvSpPr>
            <p:spPr bwMode="auto">
              <a:xfrm>
                <a:off x="7965199"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75661" tIns="140529" rIns="175661" bIns="140529" numCol="1" spcCol="0" rtlCol="0" fromWordArt="0" anchor="ctr" anchorCtr="0" forceAA="0" compatLnSpc="1">
                <a:prstTxWarp prst="textNoShape">
                  <a:avLst/>
                </a:prstTxWarp>
                <a:noAutofit/>
              </a:bodyPr>
              <a:lstStyle/>
              <a:p>
                <a:pPr algn="ctr" defTabSz="895406" fontAlgn="base">
                  <a:lnSpc>
                    <a:spcPct val="90000"/>
                  </a:lnSpc>
                  <a:spcBef>
                    <a:spcPct val="0"/>
                  </a:spcBef>
                  <a:spcAft>
                    <a:spcPct val="0"/>
                  </a:spcAft>
                  <a:defRPr/>
                </a:pPr>
                <a:endParaRPr lang="en-US" sz="2691"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51" name="Freeform 6"/>
              <p:cNvSpPr>
                <a:spLocks/>
              </p:cNvSpPr>
              <p:nvPr/>
            </p:nvSpPr>
            <p:spPr bwMode="auto">
              <a:xfrm>
                <a:off x="8158832"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52" name="Freeform 7"/>
              <p:cNvSpPr>
                <a:spLocks/>
              </p:cNvSpPr>
              <p:nvPr/>
            </p:nvSpPr>
            <p:spPr bwMode="auto">
              <a:xfrm>
                <a:off x="8378826"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sp>
            <p:nvSpPr>
              <p:cNvPr id="253" name="Freeform 8"/>
              <p:cNvSpPr>
                <a:spLocks/>
              </p:cNvSpPr>
              <p:nvPr/>
            </p:nvSpPr>
            <p:spPr bwMode="auto">
              <a:xfrm>
                <a:off x="8158832"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54" name="Oval 5"/>
              <p:cNvSpPr>
                <a:spLocks noChangeArrowheads="1"/>
              </p:cNvSpPr>
              <p:nvPr/>
            </p:nvSpPr>
            <p:spPr bwMode="auto">
              <a:xfrm>
                <a:off x="8078707" y="5863806"/>
                <a:ext cx="614935" cy="618434"/>
              </a:xfrm>
              <a:prstGeom prst="ellipse">
                <a:avLst/>
              </a:prstGeom>
              <a:solidFill>
                <a:srgbClr val="FFFFFF">
                  <a:lumMod val="85000"/>
                  <a:alpha val="54118"/>
                </a:srgbClr>
              </a:solidFill>
              <a:ln w="19050">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55" name="Freeform 10"/>
              <p:cNvSpPr>
                <a:spLocks noEditPoints="1"/>
              </p:cNvSpPr>
              <p:nvPr/>
            </p:nvSpPr>
            <p:spPr bwMode="auto">
              <a:xfrm>
                <a:off x="8298225"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56" name="Rectangle 11"/>
              <p:cNvSpPr>
                <a:spLocks noChangeArrowheads="1"/>
              </p:cNvSpPr>
              <p:nvPr/>
            </p:nvSpPr>
            <p:spPr bwMode="auto">
              <a:xfrm>
                <a:off x="8350146" y="5997517"/>
                <a:ext cx="83873" cy="83862"/>
              </a:xfrm>
              <a:prstGeom prst="rect">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57" name="Rectangle 256"/>
              <p:cNvSpPr/>
              <p:nvPr/>
            </p:nvSpPr>
            <p:spPr bwMode="auto">
              <a:xfrm>
                <a:off x="8430206"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58" name="Rectangle 257"/>
              <p:cNvSpPr/>
              <p:nvPr/>
            </p:nvSpPr>
            <p:spPr bwMode="auto">
              <a:xfrm>
                <a:off x="8490751"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59" name="Rectangle 258"/>
              <p:cNvSpPr/>
              <p:nvPr/>
            </p:nvSpPr>
            <p:spPr bwMode="auto">
              <a:xfrm rot="5400000">
                <a:off x="8451097"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0" name="Rectangle 259"/>
              <p:cNvSpPr/>
              <p:nvPr/>
            </p:nvSpPr>
            <p:spPr bwMode="auto">
              <a:xfrm rot="5400000">
                <a:off x="8478272"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1" name="Oval 260"/>
              <p:cNvSpPr/>
              <p:nvPr/>
            </p:nvSpPr>
            <p:spPr bwMode="auto">
              <a:xfrm>
                <a:off x="8423061"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2" name="Oval 261"/>
              <p:cNvSpPr/>
              <p:nvPr/>
            </p:nvSpPr>
            <p:spPr bwMode="auto">
              <a:xfrm>
                <a:off x="8483862"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3" name="Rectangle 262"/>
              <p:cNvSpPr/>
              <p:nvPr/>
            </p:nvSpPr>
            <p:spPr bwMode="auto">
              <a:xfrm>
                <a:off x="8410653"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4" name="Rectangle 263"/>
              <p:cNvSpPr/>
              <p:nvPr/>
            </p:nvSpPr>
            <p:spPr bwMode="auto">
              <a:xfrm>
                <a:off x="8470993"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5" name="Rectangle 264"/>
              <p:cNvSpPr/>
              <p:nvPr/>
            </p:nvSpPr>
            <p:spPr bwMode="auto">
              <a:xfrm>
                <a:off x="8531915"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6" name="Flowchart: Magnetic Disk 86"/>
              <p:cNvSpPr/>
              <p:nvPr/>
            </p:nvSpPr>
            <p:spPr bwMode="auto">
              <a:xfrm>
                <a:off x="8195936"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52" tIns="140522" rIns="175652" bIns="140522"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67" name="Freeform 266"/>
              <p:cNvSpPr>
                <a:spLocks noEditPoints="1"/>
              </p:cNvSpPr>
              <p:nvPr/>
            </p:nvSpPr>
            <p:spPr bwMode="black">
              <a:xfrm>
                <a:off x="8986285"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cxnSp>
            <p:nvCxnSpPr>
              <p:cNvPr id="268" name="Straight Connector 267"/>
              <p:cNvCxnSpPr/>
              <p:nvPr/>
            </p:nvCxnSpPr>
            <p:spPr>
              <a:xfrm flipV="1">
                <a:off x="9415491" y="3645257"/>
                <a:ext cx="0" cy="1193825"/>
              </a:xfrm>
              <a:prstGeom prst="line">
                <a:avLst/>
              </a:prstGeom>
              <a:noFill/>
              <a:ln w="34925" cap="flat" cmpd="sng" algn="ctr">
                <a:solidFill>
                  <a:srgbClr val="505050"/>
                </a:solidFill>
                <a:prstDash val="sysDot"/>
                <a:headEnd type="none"/>
                <a:tailEnd type="none"/>
              </a:ln>
              <a:effectLst/>
            </p:spPr>
          </p:cxnSp>
          <p:sp>
            <p:nvSpPr>
              <p:cNvPr id="269" name="Oval 5"/>
              <p:cNvSpPr>
                <a:spLocks noChangeArrowheads="1"/>
              </p:cNvSpPr>
              <p:nvPr/>
            </p:nvSpPr>
            <p:spPr bwMode="auto">
              <a:xfrm>
                <a:off x="8994516"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75661" tIns="140529" rIns="175661" bIns="140529" numCol="1" spcCol="0" rtlCol="0" fromWordArt="0" anchor="ctr" anchorCtr="0" forceAA="0" compatLnSpc="1">
                <a:prstTxWarp prst="textNoShape">
                  <a:avLst/>
                </a:prstTxWarp>
                <a:noAutofit/>
              </a:bodyPr>
              <a:lstStyle/>
              <a:p>
                <a:pPr algn="ctr" defTabSz="895406" fontAlgn="base">
                  <a:lnSpc>
                    <a:spcPct val="90000"/>
                  </a:lnSpc>
                  <a:spcBef>
                    <a:spcPct val="0"/>
                  </a:spcBef>
                  <a:spcAft>
                    <a:spcPct val="0"/>
                  </a:spcAft>
                  <a:defRPr/>
                </a:pPr>
                <a:endParaRPr lang="en-US" sz="2691"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70" name="Freeform 6"/>
              <p:cNvSpPr>
                <a:spLocks/>
              </p:cNvSpPr>
              <p:nvPr/>
            </p:nvSpPr>
            <p:spPr bwMode="auto">
              <a:xfrm>
                <a:off x="9188149"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71" name="Freeform 7"/>
              <p:cNvSpPr>
                <a:spLocks/>
              </p:cNvSpPr>
              <p:nvPr/>
            </p:nvSpPr>
            <p:spPr bwMode="auto">
              <a:xfrm>
                <a:off x="9408143"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sp>
            <p:nvSpPr>
              <p:cNvPr id="272" name="Freeform 8"/>
              <p:cNvSpPr>
                <a:spLocks/>
              </p:cNvSpPr>
              <p:nvPr/>
            </p:nvSpPr>
            <p:spPr bwMode="auto">
              <a:xfrm>
                <a:off x="9188149"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73" name="Oval 5"/>
              <p:cNvSpPr>
                <a:spLocks noChangeArrowheads="1"/>
              </p:cNvSpPr>
              <p:nvPr/>
            </p:nvSpPr>
            <p:spPr bwMode="auto">
              <a:xfrm>
                <a:off x="9108024" y="5863806"/>
                <a:ext cx="614935" cy="618434"/>
              </a:xfrm>
              <a:prstGeom prst="ellipse">
                <a:avLst/>
              </a:prstGeom>
              <a:solidFill>
                <a:srgbClr val="FFFFFF">
                  <a:lumMod val="85000"/>
                  <a:alpha val="54118"/>
                </a:srgbClr>
              </a:solidFill>
              <a:ln w="19050">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74" name="Freeform 10"/>
              <p:cNvSpPr>
                <a:spLocks noEditPoints="1"/>
              </p:cNvSpPr>
              <p:nvPr/>
            </p:nvSpPr>
            <p:spPr bwMode="auto">
              <a:xfrm>
                <a:off x="9327542"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75" name="Rectangle 11"/>
              <p:cNvSpPr>
                <a:spLocks noChangeArrowheads="1"/>
              </p:cNvSpPr>
              <p:nvPr/>
            </p:nvSpPr>
            <p:spPr bwMode="auto">
              <a:xfrm>
                <a:off x="9379463" y="5997517"/>
                <a:ext cx="83873" cy="83862"/>
              </a:xfrm>
              <a:prstGeom prst="rect">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76" name="Rectangle 275"/>
              <p:cNvSpPr/>
              <p:nvPr/>
            </p:nvSpPr>
            <p:spPr bwMode="auto">
              <a:xfrm>
                <a:off x="9459523"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77" name="Rectangle 276"/>
              <p:cNvSpPr/>
              <p:nvPr/>
            </p:nvSpPr>
            <p:spPr bwMode="auto">
              <a:xfrm>
                <a:off x="9520068"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78" name="Rectangle 277"/>
              <p:cNvSpPr/>
              <p:nvPr/>
            </p:nvSpPr>
            <p:spPr bwMode="auto">
              <a:xfrm rot="5400000">
                <a:off x="9480414"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79" name="Rectangle 278"/>
              <p:cNvSpPr/>
              <p:nvPr/>
            </p:nvSpPr>
            <p:spPr bwMode="auto">
              <a:xfrm rot="5400000">
                <a:off x="9507589"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0" name="Oval 279"/>
              <p:cNvSpPr/>
              <p:nvPr/>
            </p:nvSpPr>
            <p:spPr bwMode="auto">
              <a:xfrm>
                <a:off x="9452378"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1" name="Oval 280"/>
              <p:cNvSpPr/>
              <p:nvPr/>
            </p:nvSpPr>
            <p:spPr bwMode="auto">
              <a:xfrm>
                <a:off x="9513179"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2" name="Rectangle 281"/>
              <p:cNvSpPr/>
              <p:nvPr/>
            </p:nvSpPr>
            <p:spPr bwMode="auto">
              <a:xfrm>
                <a:off x="9439970"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3" name="Rectangle 282"/>
              <p:cNvSpPr/>
              <p:nvPr/>
            </p:nvSpPr>
            <p:spPr bwMode="auto">
              <a:xfrm>
                <a:off x="9500310"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4" name="Rectangle 283"/>
              <p:cNvSpPr/>
              <p:nvPr/>
            </p:nvSpPr>
            <p:spPr bwMode="auto">
              <a:xfrm>
                <a:off x="9561232"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5" name="Flowchart: Magnetic Disk 86"/>
              <p:cNvSpPr/>
              <p:nvPr/>
            </p:nvSpPr>
            <p:spPr bwMode="auto">
              <a:xfrm>
                <a:off x="9225253"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52" tIns="140522" rIns="175652" bIns="140522"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6" name="Freeform 285"/>
              <p:cNvSpPr>
                <a:spLocks noEditPoints="1"/>
              </p:cNvSpPr>
              <p:nvPr/>
            </p:nvSpPr>
            <p:spPr bwMode="black">
              <a:xfrm>
                <a:off x="9982931" y="4938068"/>
                <a:ext cx="843402" cy="17007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cxnSp>
            <p:nvCxnSpPr>
              <p:cNvPr id="287" name="Straight Connector 286"/>
              <p:cNvCxnSpPr/>
              <p:nvPr/>
            </p:nvCxnSpPr>
            <p:spPr>
              <a:xfrm flipV="1">
                <a:off x="10412138" y="3645257"/>
                <a:ext cx="0" cy="1193825"/>
              </a:xfrm>
              <a:prstGeom prst="line">
                <a:avLst/>
              </a:prstGeom>
              <a:noFill/>
              <a:ln w="34925" cap="flat" cmpd="sng" algn="ctr">
                <a:solidFill>
                  <a:srgbClr val="505050"/>
                </a:solidFill>
                <a:prstDash val="sysDot"/>
                <a:headEnd type="none"/>
                <a:tailEnd type="none"/>
              </a:ln>
              <a:effectLst/>
            </p:spPr>
          </p:cxnSp>
          <p:sp>
            <p:nvSpPr>
              <p:cNvPr id="288" name="Oval 5"/>
              <p:cNvSpPr>
                <a:spLocks noChangeArrowheads="1"/>
              </p:cNvSpPr>
              <p:nvPr/>
            </p:nvSpPr>
            <p:spPr bwMode="auto">
              <a:xfrm>
                <a:off x="9991163" y="2655977"/>
                <a:ext cx="826939" cy="831646"/>
              </a:xfrm>
              <a:prstGeom prst="ellipse">
                <a:avLst/>
              </a:prstGeom>
              <a:solidFill>
                <a:srgbClr val="FFFFFF"/>
              </a:solidFill>
              <a:ln w="38100" cap="flat" cmpd="sng" algn="ctr">
                <a:solidFill>
                  <a:srgbClr val="505050"/>
                </a:solidFill>
                <a:prstDash val="solid"/>
                <a:headEnd type="none" w="med" len="med"/>
                <a:tailEnd type="none" w="med" len="med"/>
              </a:ln>
              <a:effectLst/>
            </p:spPr>
            <p:txBody>
              <a:bodyPr rot="0" spcFirstLastPara="0" vertOverflow="overflow" horzOverflow="overflow" vert="horz" wrap="square" lIns="175661" tIns="140529" rIns="175661" bIns="140529" numCol="1" spcCol="0" rtlCol="0" fromWordArt="0" anchor="ctr" anchorCtr="0" forceAA="0" compatLnSpc="1">
                <a:prstTxWarp prst="textNoShape">
                  <a:avLst/>
                </a:prstTxWarp>
                <a:noAutofit/>
              </a:bodyPr>
              <a:lstStyle/>
              <a:p>
                <a:pPr algn="ctr" defTabSz="895406" fontAlgn="base">
                  <a:lnSpc>
                    <a:spcPct val="90000"/>
                  </a:lnSpc>
                  <a:spcBef>
                    <a:spcPct val="0"/>
                  </a:spcBef>
                  <a:spcAft>
                    <a:spcPct val="0"/>
                  </a:spcAft>
                  <a:defRPr/>
                </a:pPr>
                <a:endParaRPr lang="en-US" sz="2691"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89" name="Freeform 6"/>
              <p:cNvSpPr>
                <a:spLocks/>
              </p:cNvSpPr>
              <p:nvPr/>
            </p:nvSpPr>
            <p:spPr bwMode="auto">
              <a:xfrm>
                <a:off x="10184796" y="2944386"/>
                <a:ext cx="221563" cy="379105"/>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90" name="Freeform 7"/>
              <p:cNvSpPr>
                <a:spLocks/>
              </p:cNvSpPr>
              <p:nvPr/>
            </p:nvSpPr>
            <p:spPr bwMode="auto">
              <a:xfrm>
                <a:off x="10404790"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3346" tIns="143346" rIns="143346" bIns="143346" rtlCol="0">
                <a:noAutofit/>
              </a:bodyPr>
              <a:lstStyle/>
              <a:p>
                <a:pPr defTabSz="913489">
                  <a:lnSpc>
                    <a:spcPts val="3000"/>
                  </a:lnSpc>
                  <a:defRPr/>
                </a:pPr>
                <a:endParaRPr lang="en-US" sz="2745" kern="0">
                  <a:gradFill>
                    <a:gsLst>
                      <a:gs pos="2917">
                        <a:srgbClr val="505050"/>
                      </a:gs>
                      <a:gs pos="30000">
                        <a:srgbClr val="505050"/>
                      </a:gs>
                    </a:gsLst>
                    <a:lin ang="5400000" scaled="0"/>
                  </a:gradFill>
                  <a:latin typeface="Segoe UI Light"/>
                </a:endParaRPr>
              </a:p>
            </p:txBody>
          </p:sp>
          <p:sp>
            <p:nvSpPr>
              <p:cNvPr id="291" name="Freeform 8"/>
              <p:cNvSpPr>
                <a:spLocks/>
              </p:cNvSpPr>
              <p:nvPr/>
            </p:nvSpPr>
            <p:spPr bwMode="auto">
              <a:xfrm>
                <a:off x="10184796" y="2817912"/>
                <a:ext cx="441557"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92" name="Oval 5"/>
              <p:cNvSpPr>
                <a:spLocks noChangeArrowheads="1"/>
              </p:cNvSpPr>
              <p:nvPr/>
            </p:nvSpPr>
            <p:spPr bwMode="auto">
              <a:xfrm>
                <a:off x="10104670" y="5863806"/>
                <a:ext cx="614935" cy="618434"/>
              </a:xfrm>
              <a:prstGeom prst="ellipse">
                <a:avLst/>
              </a:prstGeom>
              <a:solidFill>
                <a:srgbClr val="FFFFFF">
                  <a:lumMod val="85000"/>
                  <a:alpha val="54118"/>
                </a:srgbClr>
              </a:solidFill>
              <a:ln w="19050">
                <a:noFill/>
              </a:ln>
            </p:spPr>
            <p:txBody>
              <a:bodyPr vert="horz" wrap="square" lIns="87830" tIns="43914" rIns="87830" bIns="43914" numCol="1" anchor="t" anchorCtr="0" compatLnSpc="1">
                <a:prstTxWarp prst="textNoShape">
                  <a:avLst/>
                </a:prstTxWarp>
              </a:bodyPr>
              <a:lstStyle/>
              <a:p>
                <a:pPr defTabSz="895665">
                  <a:defRPr/>
                </a:pPr>
                <a:endParaRPr lang="en-US" sz="1726" kern="0">
                  <a:gradFill>
                    <a:gsLst>
                      <a:gs pos="2917">
                        <a:srgbClr val="505050"/>
                      </a:gs>
                      <a:gs pos="30000">
                        <a:srgbClr val="505050"/>
                      </a:gs>
                    </a:gsLst>
                    <a:lin ang="5400000" scaled="0"/>
                  </a:gradFill>
                  <a:latin typeface="Segoe UI"/>
                </a:endParaRPr>
              </a:p>
            </p:txBody>
          </p:sp>
          <p:sp>
            <p:nvSpPr>
              <p:cNvPr id="293" name="Freeform 10"/>
              <p:cNvSpPr>
                <a:spLocks noEditPoints="1"/>
              </p:cNvSpPr>
              <p:nvPr/>
            </p:nvSpPr>
            <p:spPr bwMode="auto">
              <a:xfrm>
                <a:off x="10324189" y="5945603"/>
                <a:ext cx="186385" cy="186358"/>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94" name="Rectangle 11"/>
              <p:cNvSpPr>
                <a:spLocks noChangeArrowheads="1"/>
              </p:cNvSpPr>
              <p:nvPr/>
            </p:nvSpPr>
            <p:spPr bwMode="auto">
              <a:xfrm>
                <a:off x="10376110" y="5997517"/>
                <a:ext cx="83873" cy="83862"/>
              </a:xfrm>
              <a:prstGeom prst="rect">
                <a:avLst/>
              </a:pr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txBody>
              <a:bodyPr vert="horz" wrap="square" lIns="86103" tIns="43051" rIns="86103" bIns="43051" numCol="1" anchor="t" anchorCtr="0" compatLnSpc="1">
                <a:prstTxWarp prst="textNoShape">
                  <a:avLst/>
                </a:prstTxWarp>
              </a:bodyPr>
              <a:lstStyle/>
              <a:p>
                <a:pPr algn="ctr" defTabSz="895582">
                  <a:defRPr/>
                </a:pPr>
                <a:endParaRPr lang="en-US" sz="1153" kern="0">
                  <a:gradFill>
                    <a:gsLst>
                      <a:gs pos="2917">
                        <a:srgbClr val="505050"/>
                      </a:gs>
                      <a:gs pos="30000">
                        <a:srgbClr val="505050"/>
                      </a:gs>
                    </a:gsLst>
                    <a:lin ang="5400000" scaled="0"/>
                  </a:gradFill>
                  <a:latin typeface="Segoe UI"/>
                </a:endParaRPr>
              </a:p>
            </p:txBody>
          </p:sp>
          <p:sp>
            <p:nvSpPr>
              <p:cNvPr id="295" name="Rectangle 294"/>
              <p:cNvSpPr/>
              <p:nvPr/>
            </p:nvSpPr>
            <p:spPr bwMode="auto">
              <a:xfrm>
                <a:off x="10456170" y="6234666"/>
                <a:ext cx="12144"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96" name="Rectangle 295"/>
              <p:cNvSpPr/>
              <p:nvPr/>
            </p:nvSpPr>
            <p:spPr bwMode="auto">
              <a:xfrm>
                <a:off x="10516715" y="6288137"/>
                <a:ext cx="12144"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97" name="Rectangle 296"/>
              <p:cNvSpPr/>
              <p:nvPr/>
            </p:nvSpPr>
            <p:spPr bwMode="auto">
              <a:xfrm rot="5400000">
                <a:off x="10477061" y="6249909"/>
                <a:ext cx="12142"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98" name="Rectangle 297"/>
              <p:cNvSpPr/>
              <p:nvPr/>
            </p:nvSpPr>
            <p:spPr bwMode="auto">
              <a:xfrm rot="5400000">
                <a:off x="10504236" y="6277610"/>
                <a:ext cx="12142" cy="10604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299" name="Oval 298"/>
              <p:cNvSpPr/>
              <p:nvPr/>
            </p:nvSpPr>
            <p:spPr bwMode="auto">
              <a:xfrm>
                <a:off x="10449024" y="625734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0" name="Oval 299"/>
              <p:cNvSpPr/>
              <p:nvPr/>
            </p:nvSpPr>
            <p:spPr bwMode="auto">
              <a:xfrm>
                <a:off x="10509825" y="6318322"/>
                <a:ext cx="25789"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1" name="Rectangle 300"/>
              <p:cNvSpPr/>
              <p:nvPr/>
            </p:nvSpPr>
            <p:spPr bwMode="auto">
              <a:xfrm>
                <a:off x="10436617" y="6183801"/>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2" name="Rectangle 301"/>
              <p:cNvSpPr/>
              <p:nvPr/>
            </p:nvSpPr>
            <p:spPr bwMode="auto">
              <a:xfrm>
                <a:off x="10496957" y="6245028"/>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3" name="Rectangle 302"/>
              <p:cNvSpPr/>
              <p:nvPr/>
            </p:nvSpPr>
            <p:spPr bwMode="auto">
              <a:xfrm>
                <a:off x="10557878" y="6305869"/>
                <a:ext cx="51249" cy="5124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2208" tIns="137766" rIns="172208" bIns="137766"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sp>
            <p:nvSpPr>
              <p:cNvPr id="304" name="Flowchart: Magnetic Disk 86"/>
              <p:cNvSpPr/>
              <p:nvPr/>
            </p:nvSpPr>
            <p:spPr bwMode="auto">
              <a:xfrm>
                <a:off x="10221900" y="6183632"/>
                <a:ext cx="150063" cy="18030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52" tIns="140522" rIns="175652" bIns="140522" numCol="1" spcCol="0" rtlCol="0" fromWordArt="0" anchor="t" anchorCtr="0" forceAA="0" compatLnSpc="1">
                <a:prstTxWarp prst="textNoShape">
                  <a:avLst/>
                </a:prstTxWarp>
                <a:noAutofit/>
              </a:bodyPr>
              <a:lstStyle/>
              <a:p>
                <a:pPr algn="ctr" defTabSz="895322" fontAlgn="base">
                  <a:lnSpc>
                    <a:spcPct val="90000"/>
                  </a:lnSpc>
                  <a:spcBef>
                    <a:spcPct val="0"/>
                  </a:spcBef>
                  <a:spcAft>
                    <a:spcPct val="0"/>
                  </a:spcAft>
                  <a:defRPr/>
                </a:pPr>
                <a:endParaRPr lang="en-US" sz="1537" kern="0">
                  <a:gradFill>
                    <a:gsLst>
                      <a:gs pos="2917">
                        <a:srgbClr val="505050"/>
                      </a:gs>
                      <a:gs pos="30000">
                        <a:srgbClr val="505050"/>
                      </a:gs>
                    </a:gsLst>
                    <a:lin ang="5400000" scaled="0"/>
                  </a:gradFill>
                  <a:latin typeface="Segoe UI"/>
                  <a:ea typeface="Segoe UI" pitchFamily="34" charset="0"/>
                  <a:cs typeface="Segoe UI" pitchFamily="34" charset="0"/>
                </a:endParaRPr>
              </a:p>
            </p:txBody>
          </p:sp>
        </p:grpSp>
        <p:sp>
          <p:nvSpPr>
            <p:cNvPr id="3" name="TextBox 2"/>
            <p:cNvSpPr txBox="1"/>
            <p:nvPr/>
          </p:nvSpPr>
          <p:spPr>
            <a:xfrm>
              <a:off x="1703881" y="6104387"/>
              <a:ext cx="2152834" cy="634530"/>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2353" b="1" kern="0">
                  <a:solidFill>
                    <a:schemeClr val="bg1"/>
                  </a:solidFill>
                  <a:latin typeface="Segoe UI Light"/>
                </a:rPr>
                <a:t>Servers</a:t>
              </a:r>
            </a:p>
          </p:txBody>
        </p:sp>
      </p:grpSp>
      <p:grpSp>
        <p:nvGrpSpPr>
          <p:cNvPr id="7" name="Group 6"/>
          <p:cNvGrpSpPr/>
          <p:nvPr/>
        </p:nvGrpSpPr>
        <p:grpSpPr>
          <a:xfrm>
            <a:off x="6598847" y="1483094"/>
            <a:ext cx="4362992" cy="4985005"/>
            <a:chOff x="6464539" y="1654929"/>
            <a:chExt cx="4451111" cy="5085686"/>
          </a:xfrm>
        </p:grpSpPr>
        <p:sp>
          <p:nvSpPr>
            <p:cNvPr id="238" name="Content Placeholder 2"/>
            <p:cNvSpPr txBox="1">
              <a:spLocks/>
            </p:cNvSpPr>
            <p:nvPr/>
          </p:nvSpPr>
          <p:spPr>
            <a:xfrm>
              <a:off x="6464539" y="1654929"/>
              <a:ext cx="4451111" cy="3084955"/>
            </a:xfrm>
            <a:prstGeom prst="rect">
              <a:avLst/>
            </a:prstGeom>
            <a:noFill/>
          </p:spPr>
          <p:txBody>
            <a:bodyPr vert="horz" wrap="square" lIns="179183" tIns="143346" rIns="179183" bIns="14334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016">
                <a:spcBef>
                  <a:spcPts val="588"/>
                </a:spcBef>
                <a:buNone/>
                <a:defRPr/>
              </a:pPr>
              <a:r>
                <a:rPr lang="en-US" sz="3133">
                  <a:solidFill>
                    <a:schemeClr val="bg1"/>
                  </a:solidFill>
                  <a:latin typeface="Segoe UI Light"/>
                  <a:cs typeface="Segoe UI" pitchFamily="34" charset="0"/>
                </a:rPr>
                <a:t>Cloud model </a:t>
              </a:r>
            </a:p>
            <a:p>
              <a:pPr marL="223925" lvl="1" indent="-223925" defTabSz="914016">
                <a:spcBef>
                  <a:spcPts val="1172"/>
                </a:spcBef>
                <a:defRPr/>
              </a:pPr>
              <a:r>
                <a:rPr lang="en-US" sz="1567">
                  <a:solidFill>
                    <a:schemeClr val="bg1"/>
                  </a:solidFill>
                  <a:latin typeface="Segoe UI Semilight"/>
                  <a:cs typeface="Segoe UI" pitchFamily="34" charset="0"/>
                </a:rPr>
                <a:t>Developers have a critical business role</a:t>
              </a:r>
            </a:p>
            <a:p>
              <a:pPr marL="223925" lvl="1" indent="-223925" defTabSz="914016">
                <a:spcBef>
                  <a:spcPts val="1172"/>
                </a:spcBef>
                <a:defRPr/>
              </a:pPr>
              <a:r>
                <a:rPr lang="en-US" sz="1567">
                  <a:solidFill>
                    <a:schemeClr val="bg1"/>
                  </a:solidFill>
                  <a:latin typeface="Segoe UI Semilight"/>
                  <a:cs typeface="Segoe UI" pitchFamily="34" charset="0"/>
                </a:rPr>
                <a:t>Micro-services and modern apps create new complexity</a:t>
              </a:r>
            </a:p>
            <a:p>
              <a:pPr marL="223925" lvl="1" indent="-223925" defTabSz="914016">
                <a:spcBef>
                  <a:spcPts val="1172"/>
                </a:spcBef>
                <a:defRPr/>
              </a:pPr>
              <a:r>
                <a:rPr lang="en-US" sz="1567">
                  <a:solidFill>
                    <a:schemeClr val="bg1"/>
                  </a:solidFill>
                  <a:latin typeface="Segoe UI Semilight"/>
                  <a:cs typeface="Segoe UI" pitchFamily="34" charset="0"/>
                </a:rPr>
                <a:t>Application data is business data</a:t>
              </a:r>
            </a:p>
            <a:p>
              <a:pPr marL="223925" lvl="1" indent="-223925" defTabSz="914016">
                <a:spcBef>
                  <a:spcPts val="1172"/>
                </a:spcBef>
                <a:defRPr/>
              </a:pPr>
              <a:r>
                <a:rPr lang="en-US" sz="1567">
                  <a:solidFill>
                    <a:schemeClr val="bg1"/>
                  </a:solidFill>
                  <a:latin typeface="Segoe UI Semilight"/>
                  <a:cs typeface="Segoe UI" pitchFamily="34" charset="0"/>
                </a:rPr>
                <a:t>…requires a new management approach</a:t>
              </a:r>
            </a:p>
          </p:txBody>
        </p:sp>
        <p:grpSp>
          <p:nvGrpSpPr>
            <p:cNvPr id="5" name="Group 4"/>
            <p:cNvGrpSpPr/>
            <p:nvPr/>
          </p:nvGrpSpPr>
          <p:grpSpPr>
            <a:xfrm>
              <a:off x="7275820" y="4381115"/>
              <a:ext cx="2828548" cy="1440702"/>
              <a:chOff x="7142574" y="4584283"/>
              <a:chExt cx="2828548" cy="1440702"/>
            </a:xfrm>
          </p:grpSpPr>
          <p:sp>
            <p:nvSpPr>
              <p:cNvPr id="313" name="Freeform 9"/>
              <p:cNvSpPr>
                <a:spLocks/>
              </p:cNvSpPr>
              <p:nvPr/>
            </p:nvSpPr>
            <p:spPr bwMode="auto">
              <a:xfrm>
                <a:off x="7142574" y="4745555"/>
                <a:ext cx="1414353" cy="78332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89592" tIns="44796" rIns="89592" bIns="44796" numCol="1" anchor="t" anchorCtr="0" compatLnSpc="1">
                <a:prstTxWarp prst="textNoShape">
                  <a:avLst/>
                </a:prstTxWarp>
              </a:bodyPr>
              <a:lstStyle/>
              <a:p>
                <a:pPr defTabSz="913665">
                  <a:defRPr/>
                </a:pPr>
                <a:endParaRPr lang="en-US" sz="1765" kern="0">
                  <a:gradFill>
                    <a:gsLst>
                      <a:gs pos="2917">
                        <a:srgbClr val="505050"/>
                      </a:gs>
                      <a:gs pos="30000">
                        <a:srgbClr val="505050"/>
                      </a:gs>
                    </a:gsLst>
                    <a:lin ang="5400000" scaled="0"/>
                  </a:gradFill>
                  <a:latin typeface="Segoe UI"/>
                </a:endParaRPr>
              </a:p>
            </p:txBody>
          </p:sp>
          <p:sp>
            <p:nvSpPr>
              <p:cNvPr id="314" name="Freeform 9"/>
              <p:cNvSpPr>
                <a:spLocks/>
              </p:cNvSpPr>
              <p:nvPr/>
            </p:nvSpPr>
            <p:spPr bwMode="auto">
              <a:xfrm>
                <a:off x="8682603" y="4584283"/>
                <a:ext cx="1288519" cy="71363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89592" tIns="44796" rIns="89592" bIns="44796" numCol="1" anchor="t" anchorCtr="0" compatLnSpc="1">
                <a:prstTxWarp prst="textNoShape">
                  <a:avLst/>
                </a:prstTxWarp>
              </a:bodyPr>
              <a:lstStyle/>
              <a:p>
                <a:pPr defTabSz="913665">
                  <a:defRPr/>
                </a:pPr>
                <a:endParaRPr lang="en-US" sz="1765" kern="0">
                  <a:gradFill>
                    <a:gsLst>
                      <a:gs pos="2917">
                        <a:srgbClr val="505050"/>
                      </a:gs>
                      <a:gs pos="30000">
                        <a:srgbClr val="505050"/>
                      </a:gs>
                    </a:gsLst>
                    <a:lin ang="5400000" scaled="0"/>
                  </a:gradFill>
                  <a:latin typeface="Segoe UI"/>
                </a:endParaRPr>
              </a:p>
            </p:txBody>
          </p:sp>
          <p:sp>
            <p:nvSpPr>
              <p:cNvPr id="315" name="Freeform 9"/>
              <p:cNvSpPr>
                <a:spLocks/>
              </p:cNvSpPr>
              <p:nvPr/>
            </p:nvSpPr>
            <p:spPr bwMode="auto">
              <a:xfrm>
                <a:off x="8031326" y="5241659"/>
                <a:ext cx="1414353" cy="78332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34925">
                <a:solidFill>
                  <a:srgbClr val="505050"/>
                </a:solidFill>
              </a:ln>
            </p:spPr>
            <p:txBody>
              <a:bodyPr vert="horz" wrap="square" lIns="89592" tIns="44796" rIns="89592" bIns="44796" numCol="1" anchor="t" anchorCtr="0" compatLnSpc="1">
                <a:prstTxWarp prst="textNoShape">
                  <a:avLst/>
                </a:prstTxWarp>
              </a:bodyPr>
              <a:lstStyle/>
              <a:p>
                <a:pPr defTabSz="913665">
                  <a:defRPr/>
                </a:pPr>
                <a:endParaRPr lang="en-US" sz="1765" kern="0">
                  <a:gradFill>
                    <a:gsLst>
                      <a:gs pos="2917">
                        <a:srgbClr val="505050"/>
                      </a:gs>
                      <a:gs pos="30000">
                        <a:srgbClr val="505050"/>
                      </a:gs>
                    </a:gsLst>
                    <a:lin ang="5400000" scaled="0"/>
                  </a:gradFill>
                  <a:latin typeface="Segoe UI"/>
                </a:endParaRPr>
              </a:p>
            </p:txBody>
          </p:sp>
        </p:grpSp>
        <p:sp>
          <p:nvSpPr>
            <p:cNvPr id="82" name="TextBox 81"/>
            <p:cNvSpPr txBox="1"/>
            <p:nvPr/>
          </p:nvSpPr>
          <p:spPr>
            <a:xfrm>
              <a:off x="7613677" y="6106085"/>
              <a:ext cx="2152834" cy="634530"/>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2353" b="1" kern="0">
                  <a:solidFill>
                    <a:schemeClr val="bg1"/>
                  </a:solidFill>
                  <a:latin typeface="Segoe UI Light"/>
                </a:rPr>
                <a:t>Services</a:t>
              </a:r>
            </a:p>
          </p:txBody>
        </p:sp>
      </p:grpSp>
      <p:grpSp>
        <p:nvGrpSpPr>
          <p:cNvPr id="10" name="Group 9"/>
          <p:cNvGrpSpPr/>
          <p:nvPr/>
        </p:nvGrpSpPr>
        <p:grpSpPr>
          <a:xfrm>
            <a:off x="5186458" y="3602293"/>
            <a:ext cx="1422190" cy="1422190"/>
            <a:chOff x="5331995" y="5526962"/>
            <a:chExt cx="887426" cy="887426"/>
          </a:xfrm>
          <a:solidFill>
            <a:schemeClr val="bg1"/>
          </a:solidFill>
          <a:effectLst>
            <a:outerShdw blurRad="50800" dist="38100" dir="2700000" algn="tl" rotWithShape="0">
              <a:prstClr val="black">
                <a:alpha val="40000"/>
              </a:prstClr>
            </a:outerShdw>
          </a:effectLst>
        </p:grpSpPr>
        <p:sp>
          <p:nvSpPr>
            <p:cNvPr id="4" name="Oval 3"/>
            <p:cNvSpPr/>
            <p:nvPr/>
          </p:nvSpPr>
          <p:spPr bwMode="auto">
            <a:xfrm>
              <a:off x="5331995" y="5526962"/>
              <a:ext cx="887426" cy="887426"/>
            </a:xfrm>
            <a:prstGeom prst="ellipse">
              <a:avLst/>
            </a:prstGeom>
            <a:grp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2917">
                      <a:srgbClr val="505050"/>
                    </a:gs>
                    <a:gs pos="30000">
                      <a:srgbClr val="505050"/>
                    </a:gs>
                  </a:gsLst>
                  <a:lin ang="5400000" scaled="0"/>
                </a:gradFill>
                <a:latin typeface="Segoe UI Semilight"/>
                <a:ea typeface="Segoe UI" pitchFamily="34" charset="0"/>
                <a:cs typeface="Segoe UI" pitchFamily="34" charset="0"/>
              </a:endParaRPr>
            </a:p>
          </p:txBody>
        </p:sp>
        <p:cxnSp>
          <p:nvCxnSpPr>
            <p:cNvPr id="9" name="Straight Connector 8"/>
            <p:cNvCxnSpPr/>
            <p:nvPr/>
          </p:nvCxnSpPr>
          <p:spPr>
            <a:xfrm>
              <a:off x="5775708" y="5662194"/>
              <a:ext cx="0" cy="616963"/>
            </a:xfrm>
            <a:prstGeom prst="line">
              <a:avLst/>
            </a:prstGeom>
            <a:grpFill/>
            <a:ln w="571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5775708" y="5662194"/>
              <a:ext cx="0" cy="616963"/>
            </a:xfrm>
            <a:prstGeom prst="line">
              <a:avLst/>
            </a:prstGeom>
            <a:grpFill/>
            <a:ln w="5715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Title 1">
            <a:extLst>
              <a:ext uri="{FF2B5EF4-FFF2-40B4-BE49-F238E27FC236}">
                <a16:creationId xmlns:a16="http://schemas.microsoft.com/office/drawing/2014/main" id="{8395FD09-EEE5-46A1-B31B-14149E83E008}"/>
              </a:ext>
            </a:extLst>
          </p:cNvPr>
          <p:cNvSpPr>
            <a:spLocks noGrp="1"/>
          </p:cNvSpPr>
          <p:nvPr>
            <p:ph type="title"/>
          </p:nvPr>
        </p:nvSpPr>
        <p:spPr/>
        <p:txBody>
          <a:bodyPr/>
          <a:lstStyle/>
          <a:p>
            <a:r>
              <a:rPr lang="en-US">
                <a:solidFill>
                  <a:schemeClr val="tx2"/>
                </a:solidFill>
              </a:rPr>
              <a:t>Cloud is a model, not just a place</a:t>
            </a:r>
          </a:p>
        </p:txBody>
      </p:sp>
    </p:spTree>
    <p:extLst>
      <p:ext uri="{BB962C8B-B14F-4D97-AF65-F5344CB8AC3E}">
        <p14:creationId xmlns:p14="http://schemas.microsoft.com/office/powerpoint/2010/main" val="3406331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233C9B3E-D8DD-4E92-B7DF-957C67372390}"/>
              </a:ext>
            </a:extLst>
          </p:cNvPr>
          <p:cNvGrpSpPr/>
          <p:nvPr/>
        </p:nvGrpSpPr>
        <p:grpSpPr>
          <a:xfrm>
            <a:off x="390731" y="1559477"/>
            <a:ext cx="11209971" cy="4495665"/>
            <a:chOff x="390731" y="1559477"/>
            <a:chExt cx="11209971" cy="4495665"/>
          </a:xfrm>
        </p:grpSpPr>
        <p:sp>
          <p:nvSpPr>
            <p:cNvPr id="2" name="Rectangle: Rounded Corners 1">
              <a:extLst>
                <a:ext uri="{FF2B5EF4-FFF2-40B4-BE49-F238E27FC236}">
                  <a16:creationId xmlns:a16="http://schemas.microsoft.com/office/drawing/2014/main" id="{DF048D9B-999E-4322-8C20-D28A4730942C}"/>
                </a:ext>
              </a:extLst>
            </p:cNvPr>
            <p:cNvSpPr/>
            <p:nvPr/>
          </p:nvSpPr>
          <p:spPr bwMode="auto">
            <a:xfrm>
              <a:off x="1917429" y="1559477"/>
              <a:ext cx="9683273" cy="3619926"/>
            </a:xfrm>
            <a:prstGeom prst="roundRect">
              <a:avLst>
                <a:gd name="adj" fmla="val 769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0F7583C2-A670-4E72-B984-E1B0F6E11E75}"/>
                </a:ext>
              </a:extLst>
            </p:cNvPr>
            <p:cNvSpPr/>
            <p:nvPr/>
          </p:nvSpPr>
          <p:spPr bwMode="auto">
            <a:xfrm>
              <a:off x="9233672" y="2182085"/>
              <a:ext cx="2103043" cy="3760132"/>
            </a:xfrm>
            <a:prstGeom prst="roundRect">
              <a:avLst>
                <a:gd name="adj" fmla="val 8857"/>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8BA535A1-B199-4D82-AB80-123D4BC7D2CB}"/>
                </a:ext>
              </a:extLst>
            </p:cNvPr>
            <p:cNvSpPr/>
            <p:nvPr/>
          </p:nvSpPr>
          <p:spPr bwMode="auto">
            <a:xfrm>
              <a:off x="3213922" y="3989084"/>
              <a:ext cx="1853131" cy="1953707"/>
            </a:xfrm>
            <a:prstGeom prst="roundRect">
              <a:avLst>
                <a:gd name="adj" fmla="val 10034"/>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774D5DE8-C071-4B24-B8AF-4E9403B760F5}"/>
                </a:ext>
              </a:extLst>
            </p:cNvPr>
            <p:cNvSpPr/>
            <p:nvPr/>
          </p:nvSpPr>
          <p:spPr bwMode="auto">
            <a:xfrm>
              <a:off x="5168850" y="3995191"/>
              <a:ext cx="3621722" cy="1947026"/>
            </a:xfrm>
            <a:prstGeom prst="roundRect">
              <a:avLst>
                <a:gd name="adj" fmla="val 8590"/>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FCB0A7ED-D585-42E8-9F68-14B62928AF55}"/>
                </a:ext>
              </a:extLst>
            </p:cNvPr>
            <p:cNvSpPr/>
            <p:nvPr/>
          </p:nvSpPr>
          <p:spPr bwMode="auto">
            <a:xfrm>
              <a:off x="510913" y="2182085"/>
              <a:ext cx="8279659" cy="1350177"/>
            </a:xfrm>
            <a:prstGeom prst="roundRect">
              <a:avLst>
                <a:gd name="adj" fmla="val 17202"/>
              </a:avLst>
            </a:prstGeom>
            <a:noFill/>
            <a:ln w="2540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4256508" y="1731510"/>
              <a:ext cx="237244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normalizeH="0" baseline="0" noProof="0">
                  <a:ln>
                    <a:noFill/>
                  </a:ln>
                  <a:gradFill>
                    <a:gsLst>
                      <a:gs pos="2917">
                        <a:srgbClr val="000000"/>
                      </a:gs>
                      <a:gs pos="30000">
                        <a:srgbClr val="000000"/>
                      </a:gs>
                    </a:gsLst>
                    <a:lin ang="5400000" scaled="0"/>
                  </a:gradFill>
                  <a:effectLst/>
                  <a:uLnTx/>
                  <a:uFillTx/>
                  <a:latin typeface="Segoe UI"/>
                  <a:ea typeface="+mn-ea"/>
                  <a:cs typeface="+mn-cs"/>
                </a:rPr>
                <a:t>Cloud operations </a:t>
              </a:r>
              <a:r>
                <a:rPr lang="en-IN" sz="1400" b="1">
                  <a:gradFill>
                    <a:gsLst>
                      <a:gs pos="2917">
                        <a:srgbClr val="000000"/>
                      </a:gs>
                      <a:gs pos="30000">
                        <a:srgbClr val="000000"/>
                      </a:gs>
                    </a:gsLst>
                    <a:lin ang="5400000" scaled="0"/>
                  </a:gradFill>
                  <a:latin typeface="Segoe UI"/>
                </a:rPr>
                <a:t>disciplines</a:t>
              </a:r>
              <a:endParaRPr kumimoji="0" lang="en-IN" sz="1400" b="1" i="0" u="none" strike="noStrike" kern="1200" cap="none"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8" name="TextBox 17"/>
            <p:cNvSpPr txBox="1"/>
            <p:nvPr/>
          </p:nvSpPr>
          <p:spPr>
            <a:xfrm>
              <a:off x="2136016" y="2654812"/>
              <a:ext cx="1123706" cy="430887"/>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ment</a:t>
              </a:r>
            </a:p>
            <a:p>
              <a:pPr marL="0" marR="0" lvl="0" indent="0" defTabSz="914400" rtl="0" eaLnBrk="1" fontAlgn="auto" latinLnBrk="0" hangingPunct="1">
                <a:lnSpc>
                  <a:spcPct val="100000"/>
                </a:lnSpc>
                <a:spcBef>
                  <a:spcPts val="0"/>
                </a:spcBef>
                <a:spcAft>
                  <a:spcPts val="0"/>
                </a:spcAft>
                <a:buClrTx/>
                <a:buSzTx/>
                <a:buFontTx/>
                <a:buNone/>
                <a:tabLst/>
                <a:defRPr/>
              </a:pPr>
              <a:r>
                <a:rPr lang="en-IN" sz="1400" b="1">
                  <a:gradFill>
                    <a:gsLst>
                      <a:gs pos="2917">
                        <a:srgbClr val="000000"/>
                      </a:gs>
                      <a:gs pos="30000">
                        <a:srgbClr val="000000"/>
                      </a:gs>
                    </a:gsLst>
                    <a:lin ang="5400000" scaled="0"/>
                  </a:gradFill>
                  <a:latin typeface="Segoe UI"/>
                </a:rPr>
                <a:t>baseline</a:t>
              </a:r>
              <a:endPar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9" name="TextBox 18"/>
            <p:cNvSpPr txBox="1"/>
            <p:nvPr/>
          </p:nvSpPr>
          <p:spPr>
            <a:xfrm>
              <a:off x="2136016" y="4316600"/>
              <a:ext cx="904094" cy="430887"/>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dvanced</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operations</a:t>
              </a:r>
            </a:p>
          </p:txBody>
        </p:sp>
        <p:sp>
          <p:nvSpPr>
            <p:cNvPr id="20" name="Rounded Rectangle 19"/>
            <p:cNvSpPr/>
            <p:nvPr/>
          </p:nvSpPr>
          <p:spPr bwMode="auto">
            <a:xfrm>
              <a:off x="3438169" y="2293986"/>
              <a:ext cx="5252185" cy="1135014"/>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bwMode="auto">
            <a:xfrm>
              <a:off x="3504228"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ventory and </a:t>
              </a:r>
              <a:r>
                <a:rPr lang="en-IN" sz="1400" b="1">
                  <a:gradFill>
                    <a:gsLst>
                      <a:gs pos="0">
                        <a:srgbClr val="FFFFFF"/>
                      </a:gs>
                      <a:gs pos="100000">
                        <a:srgbClr val="FFFFFF"/>
                      </a:gs>
                    </a:gsLst>
                    <a:lin ang="5400000" scaled="0"/>
                  </a:gradFill>
                  <a:latin typeface="Segoe UI"/>
                  <a:ea typeface="Segoe UI" pitchFamily="34" charset="0"/>
                  <a:cs typeface="Segoe UI" pitchFamily="34" charset="0"/>
                </a:rPr>
                <a:t>visibility</a:t>
              </a:r>
              <a:endPar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p:cNvSpPr/>
            <p:nvPr/>
          </p:nvSpPr>
          <p:spPr bwMode="auto">
            <a:xfrm>
              <a:off x="5323291"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onal compliance</a:t>
              </a:r>
            </a:p>
          </p:txBody>
        </p:sp>
        <p:sp>
          <p:nvSpPr>
            <p:cNvPr id="23" name="Rectangle 22"/>
            <p:cNvSpPr/>
            <p:nvPr/>
          </p:nvSpPr>
          <p:spPr bwMode="auto">
            <a:xfrm>
              <a:off x="7142354" y="2584520"/>
              <a:ext cx="1440000" cy="5714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tect and recover</a:t>
              </a:r>
            </a:p>
          </p:txBody>
        </p:sp>
        <p:sp>
          <p:nvSpPr>
            <p:cNvPr id="24" name="Rounded Rectangle 23"/>
            <p:cNvSpPr/>
            <p:nvPr/>
          </p:nvSpPr>
          <p:spPr bwMode="auto">
            <a:xfrm>
              <a:off x="3312487"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hanced baseline</a:t>
              </a:r>
            </a:p>
          </p:txBody>
        </p:sp>
        <p:sp>
          <p:nvSpPr>
            <p:cNvPr id="25" name="Rounded Rectangle 24"/>
            <p:cNvSpPr/>
            <p:nvPr/>
          </p:nvSpPr>
          <p:spPr bwMode="auto">
            <a:xfrm>
              <a:off x="5273249"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 specialization</a:t>
              </a:r>
            </a:p>
          </p:txBody>
        </p:sp>
        <p:sp>
          <p:nvSpPr>
            <p:cNvPr id="26" name="Rounded Rectangle 25"/>
            <p:cNvSpPr/>
            <p:nvPr/>
          </p:nvSpPr>
          <p:spPr bwMode="auto">
            <a:xfrm>
              <a:off x="7021069" y="4100043"/>
              <a:ext cx="1656000" cy="86400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load specialization</a:t>
              </a:r>
            </a:p>
          </p:txBody>
        </p:sp>
        <p:cxnSp>
          <p:nvCxnSpPr>
            <p:cNvPr id="28" name="Straight Arrow Connector 27"/>
            <p:cNvCxnSpPr>
              <a:cxnSpLocks/>
            </p:cNvCxnSpPr>
            <p:nvPr/>
          </p:nvCxnSpPr>
          <p:spPr>
            <a:xfrm flipH="1">
              <a:off x="4732774" y="3578170"/>
              <a:ext cx="1065732" cy="349682"/>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p:cNvCxnSpPr>
            <p:nvPr/>
          </p:nvCxnSpPr>
          <p:spPr>
            <a:xfrm>
              <a:off x="6236672" y="3578170"/>
              <a:ext cx="1120755" cy="331485"/>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cxnSpLocks/>
            </p:cNvCxnSpPr>
            <p:nvPr/>
          </p:nvCxnSpPr>
          <p:spPr>
            <a:xfrm>
              <a:off x="6027230" y="3589553"/>
              <a:ext cx="0" cy="328251"/>
            </a:xfrm>
            <a:prstGeom prst="straightConnector1">
              <a:avLst/>
            </a:prstGeom>
            <a:ln w="25400" cap="rnd">
              <a:solidFill>
                <a:schemeClr val="tx2"/>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344991" y="2293985"/>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riticality</a:t>
              </a:r>
            </a:p>
          </p:txBody>
        </p:sp>
        <p:sp>
          <p:nvSpPr>
            <p:cNvPr id="29" name="TextBox 28"/>
            <p:cNvSpPr txBox="1"/>
            <p:nvPr/>
          </p:nvSpPr>
          <p:spPr>
            <a:xfrm>
              <a:off x="9452633" y="1731510"/>
              <a:ext cx="162865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normalizeH="0" baseline="0" noProof="0">
                  <a:ln>
                    <a:noFill/>
                  </a:ln>
                  <a:gradFill>
                    <a:gsLst>
                      <a:gs pos="2917">
                        <a:srgbClr val="000000"/>
                      </a:gs>
                      <a:gs pos="30000">
                        <a:srgbClr val="000000"/>
                      </a:gs>
                    </a:gsLst>
                    <a:lin ang="5400000" scaled="0"/>
                  </a:gradFill>
                  <a:effectLst/>
                  <a:uLnTx/>
                  <a:uFillTx/>
                  <a:latin typeface="Segoe UI"/>
                  <a:ea typeface="+mn-ea"/>
                  <a:cs typeface="+mn-cs"/>
                </a:rPr>
                <a:t>Business alignment</a:t>
              </a:r>
            </a:p>
          </p:txBody>
        </p:sp>
        <p:sp>
          <p:nvSpPr>
            <p:cNvPr id="34" name="Rounded Rectangle 33"/>
            <p:cNvSpPr/>
            <p:nvPr/>
          </p:nvSpPr>
          <p:spPr bwMode="auto">
            <a:xfrm>
              <a:off x="9344991" y="4243902"/>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itment</a:t>
              </a:r>
            </a:p>
          </p:txBody>
        </p:sp>
        <p:cxnSp>
          <p:nvCxnSpPr>
            <p:cNvPr id="35" name="Straight Connector 34"/>
            <p:cNvCxnSpPr>
              <a:cxnSpLocks/>
            </p:cNvCxnSpPr>
            <p:nvPr/>
          </p:nvCxnSpPr>
          <p:spPr>
            <a:xfrm>
              <a:off x="10282189" y="2867597"/>
              <a:ext cx="0" cy="1627833"/>
            </a:xfrm>
            <a:prstGeom prst="line">
              <a:avLst/>
            </a:prstGeom>
            <a:ln w="254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auto">
            <a:xfrm>
              <a:off x="9344991" y="3268944"/>
              <a:ext cx="1874395" cy="720141"/>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mpact</a:t>
              </a:r>
            </a:p>
          </p:txBody>
        </p:sp>
        <p:cxnSp>
          <p:nvCxnSpPr>
            <p:cNvPr id="36" name="Straight Connector 35"/>
            <p:cNvCxnSpPr>
              <a:cxnSpLocks/>
            </p:cNvCxnSpPr>
            <p:nvPr/>
          </p:nvCxnSpPr>
          <p:spPr>
            <a:xfrm>
              <a:off x="9007680" y="1778606"/>
              <a:ext cx="0" cy="3181668"/>
            </a:xfrm>
            <a:prstGeom prst="line">
              <a:avLst/>
            </a:prstGeom>
            <a:ln w="25400">
              <a:solidFill>
                <a:schemeClr val="accent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591298" y="2533240"/>
              <a:ext cx="1336179" cy="674031"/>
            </a:xfrm>
            <a:prstGeom prst="rect">
              <a:avLst/>
            </a:prstGeom>
          </p:spPr>
          <p:txBody>
            <a:bodyPr wrap="square" anchor="ctr" anchorCtr="0">
              <a:spAutoFit/>
            </a:body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normalizeH="0" baseline="0" noProof="0">
                  <a:ln w="3175">
                    <a:noFill/>
                  </a:ln>
                  <a:effectLst/>
                  <a:uLnTx/>
                  <a:uFillTx/>
                  <a:latin typeface="Segoe UI Semibold" panose="020B0702040204020203" pitchFamily="34" charset="0"/>
                  <a:ea typeface="+mn-ea"/>
                  <a:cs typeface="Segoe UI Semibold" panose="020B0702040204020203" pitchFamily="34" charset="0"/>
                </a:rPr>
                <a:t>Evaluate management baseline</a:t>
              </a:r>
            </a:p>
          </p:txBody>
        </p:sp>
        <p:sp>
          <p:nvSpPr>
            <p:cNvPr id="37" name="Oval 36"/>
            <p:cNvSpPr/>
            <p:nvPr/>
          </p:nvSpPr>
          <p:spPr bwMode="auto">
            <a:xfrm>
              <a:off x="390731" y="2034241"/>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kern="0">
                  <a:solidFill>
                    <a:prstClr val="white"/>
                  </a:solidFill>
                  <a:latin typeface="Segoe UI Semibold" panose="020B0702040204020203" pitchFamily="34" charset="0"/>
                  <a:cs typeface="Segoe UI Semibold" panose="020B0702040204020203" pitchFamily="34" charset="0"/>
                </a:rPr>
                <a:t>2</a:t>
              </a:r>
            </a:p>
          </p:txBody>
        </p:sp>
        <p:sp>
          <p:nvSpPr>
            <p:cNvPr id="43" name="Rectangle 42"/>
            <p:cNvSpPr/>
            <p:nvPr/>
          </p:nvSpPr>
          <p:spPr>
            <a:xfrm>
              <a:off x="9482501" y="5321458"/>
              <a:ext cx="1599374" cy="4801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normalizeH="0" baseline="0" noProof="0">
                  <a:ln w="3175">
                    <a:noFill/>
                  </a:ln>
                  <a:effectLst/>
                  <a:uLnTx/>
                  <a:uFillTx/>
                  <a:latin typeface="Segoe UI Semibold" panose="020B0702040204020203" pitchFamily="34" charset="0"/>
                  <a:ea typeface="+mn-ea"/>
                  <a:cs typeface="Segoe UI Semibold" panose="020B0702040204020203" pitchFamily="34" charset="0"/>
                </a:rPr>
                <a:t>Define business commitments</a:t>
              </a:r>
            </a:p>
          </p:txBody>
        </p:sp>
        <p:sp>
          <p:nvSpPr>
            <p:cNvPr id="44" name="Oval 43"/>
            <p:cNvSpPr/>
            <p:nvPr/>
          </p:nvSpPr>
          <p:spPr bwMode="auto">
            <a:xfrm>
              <a:off x="11175649"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4" fontAlgn="base">
                <a:lnSpc>
                  <a:spcPct val="90000"/>
                </a:lnSpc>
                <a:spcBef>
                  <a:spcPct val="0"/>
                </a:spcBef>
                <a:spcAft>
                  <a:spcPct val="0"/>
                </a:spcAft>
              </a:pPr>
              <a:r>
                <a:rPr lang="en-US" kern="0">
                  <a:solidFill>
                    <a:prstClr val="white"/>
                  </a:solidFill>
                  <a:latin typeface="Segoe UI Semibold" panose="020B0702040204020203" pitchFamily="34" charset="0"/>
                  <a:cs typeface="Segoe UI Semibold" panose="020B0702040204020203" pitchFamily="34" charset="0"/>
                </a:rPr>
                <a:t>1</a:t>
              </a:r>
            </a:p>
          </p:txBody>
        </p:sp>
        <p:sp>
          <p:nvSpPr>
            <p:cNvPr id="46" name="Rectangle 45"/>
            <p:cNvSpPr/>
            <p:nvPr/>
          </p:nvSpPr>
          <p:spPr>
            <a:xfrm>
              <a:off x="3488498" y="5224508"/>
              <a:ext cx="1303977" cy="6740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normalizeH="0" baseline="0" noProof="0">
                  <a:ln w="3175">
                    <a:noFill/>
                  </a:ln>
                  <a:effectLst/>
                  <a:uLnTx/>
                  <a:uFillTx/>
                  <a:latin typeface="Segoe UI Semibold" panose="020B0702040204020203" pitchFamily="34" charset="0"/>
                  <a:ea typeface="+mn-ea"/>
                  <a:cs typeface="Segoe UI Semibold" panose="020B0702040204020203" pitchFamily="34" charset="0"/>
                </a:rPr>
                <a:t>Expand management baseline</a:t>
              </a:r>
            </a:p>
          </p:txBody>
        </p:sp>
        <p:sp>
          <p:nvSpPr>
            <p:cNvPr id="47" name="Oval 46"/>
            <p:cNvSpPr/>
            <p:nvPr/>
          </p:nvSpPr>
          <p:spPr bwMode="auto">
            <a:xfrm>
              <a:off x="3060273"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49" name="Rectangle 48"/>
            <p:cNvSpPr/>
            <p:nvPr/>
          </p:nvSpPr>
          <p:spPr>
            <a:xfrm>
              <a:off x="5833509" y="5321458"/>
              <a:ext cx="2292403" cy="480131"/>
            </a:xfrm>
            <a:prstGeom prst="rect">
              <a:avLst/>
            </a:prstGeom>
          </p:spPr>
          <p:txBody>
            <a:bodyPr wrap="square" anchor="ctr" anchorCtr="0">
              <a:spAutoFit/>
            </a:body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1400" b="0" i="0" u="none" strike="noStrike" kern="1200" cap="none" normalizeH="0" baseline="0" noProof="0">
                  <a:ln w="3175">
                    <a:noFill/>
                  </a:ln>
                  <a:effectLst/>
                  <a:uLnTx/>
                  <a:uFillTx/>
                  <a:latin typeface="Segoe UI Semibold" panose="020B0702040204020203" pitchFamily="34" charset="0"/>
                  <a:ea typeface="+mn-ea"/>
                  <a:cs typeface="Segoe UI Semibold" panose="020B0702040204020203" pitchFamily="34" charset="0"/>
                </a:rPr>
                <a:t>Advanced operations and design principals</a:t>
              </a:r>
            </a:p>
          </p:txBody>
        </p:sp>
        <p:sp>
          <p:nvSpPr>
            <p:cNvPr id="50" name="Oval 49"/>
            <p:cNvSpPr/>
            <p:nvPr/>
          </p:nvSpPr>
          <p:spPr bwMode="auto">
            <a:xfrm>
              <a:off x="8638006" y="5727249"/>
              <a:ext cx="327893" cy="327893"/>
            </a:xfrm>
            <a:prstGeom prst="ellipse">
              <a:avLst/>
            </a:prstGeom>
            <a:solidFill>
              <a:schemeClr val="tx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4</a:t>
              </a:r>
            </a:p>
          </p:txBody>
        </p:sp>
      </p:grpSp>
      <p:sp>
        <p:nvSpPr>
          <p:cNvPr id="51" name="Title 1"/>
          <p:cNvSpPr>
            <a:spLocks noGrp="1"/>
          </p:cNvSpPr>
          <p:nvPr>
            <p:ph type="title"/>
          </p:nvPr>
        </p:nvSpPr>
        <p:spPr>
          <a:xfrm>
            <a:off x="455997" y="620429"/>
            <a:ext cx="7190800" cy="403137"/>
          </a:xfrm>
        </p:spPr>
        <p:txBody>
          <a:bodyPr/>
          <a:lstStyle/>
          <a:p>
            <a:r>
              <a:rPr lang="en-IN" b="1"/>
              <a:t>Methodology to enable cloud management</a:t>
            </a:r>
            <a:endParaRPr lang="en-IN"/>
          </a:p>
        </p:txBody>
      </p:sp>
    </p:spTree>
    <p:extLst>
      <p:ext uri="{BB962C8B-B14F-4D97-AF65-F5344CB8AC3E}">
        <p14:creationId xmlns:p14="http://schemas.microsoft.com/office/powerpoint/2010/main" val="40338711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59D9B8-B16E-4DFB-A8DC-1D58D89A70E2}"/>
              </a:ext>
            </a:extLst>
          </p:cNvPr>
          <p:cNvSpPr>
            <a:spLocks noGrp="1"/>
          </p:cNvSpPr>
          <p:nvPr>
            <p:ph type="title"/>
          </p:nvPr>
        </p:nvSpPr>
        <p:spPr/>
        <p:txBody>
          <a:bodyPr/>
          <a:lstStyle/>
          <a:p>
            <a:r>
              <a:rPr lang="en-US"/>
              <a:t>Show n’ Tell</a:t>
            </a:r>
          </a:p>
        </p:txBody>
      </p:sp>
      <p:sp>
        <p:nvSpPr>
          <p:cNvPr id="6" name="Text Placeholder 5">
            <a:extLst>
              <a:ext uri="{FF2B5EF4-FFF2-40B4-BE49-F238E27FC236}">
                <a16:creationId xmlns:a16="http://schemas.microsoft.com/office/drawing/2014/main" id="{BA73F884-CA57-4C79-B1B2-7FF3666639CA}"/>
              </a:ext>
            </a:extLst>
          </p:cNvPr>
          <p:cNvSpPr>
            <a:spLocks noGrp="1"/>
          </p:cNvSpPr>
          <p:nvPr>
            <p:ph type="body" sz="quarter" idx="10"/>
          </p:nvPr>
        </p:nvSpPr>
        <p:spPr>
          <a:xfrm>
            <a:off x="586740" y="1549779"/>
            <a:ext cx="11018520" cy="4167616"/>
          </a:xfrm>
        </p:spPr>
        <p:txBody>
          <a:bodyPr/>
          <a:lstStyle/>
          <a:p>
            <a:r>
              <a:rPr lang="en-US"/>
              <a:t>Cloud Adoption Framework operations content</a:t>
            </a:r>
          </a:p>
          <a:p>
            <a:endParaRPr lang="en-US"/>
          </a:p>
          <a:p>
            <a:r>
              <a:rPr lang="en-US"/>
              <a:t>Azure Monitor</a:t>
            </a:r>
          </a:p>
          <a:p>
            <a:endParaRPr lang="en-US"/>
          </a:p>
          <a:p>
            <a:r>
              <a:rPr lang="en-US"/>
              <a:t>Azure Security Center and Sentinel</a:t>
            </a:r>
          </a:p>
          <a:p>
            <a:endParaRPr lang="en-US"/>
          </a:p>
          <a:p>
            <a:r>
              <a:rPr lang="en-US"/>
              <a:t>Azure Advisor</a:t>
            </a:r>
          </a:p>
          <a:p>
            <a:endParaRPr lang="en-US"/>
          </a:p>
          <a:p>
            <a:r>
              <a:rPr lang="en-US"/>
              <a:t>Azure Service Health and Alerting</a:t>
            </a:r>
          </a:p>
          <a:p>
            <a:endParaRPr lang="en-US"/>
          </a:p>
          <a:p>
            <a:r>
              <a:rPr lang="en-US"/>
              <a:t>Azure Well-Architected</a:t>
            </a:r>
          </a:p>
        </p:txBody>
      </p:sp>
    </p:spTree>
    <p:extLst>
      <p:ext uri="{BB962C8B-B14F-4D97-AF65-F5344CB8AC3E}">
        <p14:creationId xmlns:p14="http://schemas.microsoft.com/office/powerpoint/2010/main" val="27890137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Security Mgmt_2017 Template">
  <a:themeElements>
    <a:clrScheme name="Custom 21">
      <a:dk1>
        <a:srgbClr val="505050"/>
      </a:dk1>
      <a:lt1>
        <a:srgbClr val="FFFFFF"/>
      </a:lt1>
      <a:dk2>
        <a:srgbClr val="002050"/>
      </a:dk2>
      <a:lt2>
        <a:srgbClr val="D2D2D2"/>
      </a:lt2>
      <a:accent1>
        <a:srgbClr val="0072C6"/>
      </a:accent1>
      <a:accent2>
        <a:srgbClr val="00205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TotalTime>
  <Words>743</Words>
  <Application>Microsoft Office PowerPoint</Application>
  <PresentationFormat>Widescreen</PresentationFormat>
  <Paragraphs>132</Paragraphs>
  <Slides>11</Slides>
  <Notes>5</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Calibri Light</vt:lpstr>
      <vt:lpstr>Consolas</vt:lpstr>
      <vt:lpstr>Segoe UI</vt:lpstr>
      <vt:lpstr>Segoe UI Light</vt:lpstr>
      <vt:lpstr>Segoe UI Semibold</vt:lpstr>
      <vt:lpstr>Segoe UI Semilight</vt:lpstr>
      <vt:lpstr>Symbol</vt:lpstr>
      <vt:lpstr>Times New Roman</vt:lpstr>
      <vt:lpstr>Wingdings</vt:lpstr>
      <vt:lpstr>Office Theme</vt:lpstr>
      <vt:lpstr>Office Theme</vt:lpstr>
      <vt:lpstr>Azure Security Mgmt_2017 Template</vt:lpstr>
      <vt:lpstr>Dynamics 365</vt:lpstr>
      <vt:lpstr>9-51052_Microsoft_Ready_Template_Light</vt:lpstr>
      <vt:lpstr>think-cell Slide</vt:lpstr>
      <vt:lpstr>PowerPoint Presentation</vt:lpstr>
      <vt:lpstr>Cloud Adoption Framework</vt:lpstr>
      <vt:lpstr>Agenda</vt:lpstr>
      <vt:lpstr>Microsoft Cloud Adoption Framework</vt:lpstr>
      <vt:lpstr>Cloud management </vt:lpstr>
      <vt:lpstr>The challenge of monitoring in the Cloud era</vt:lpstr>
      <vt:lpstr>Cloud is a model, not just a place</vt:lpstr>
      <vt:lpstr>Methodology to enable cloud management</vt:lpstr>
      <vt:lpstr>Show n’ Tell</vt:lpstr>
      <vt:lpstr>Referen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Calder</dc:creator>
  <cp:lastModifiedBy>Matthew Calder</cp:lastModifiedBy>
  <cp:revision>1</cp:revision>
  <dcterms:created xsi:type="dcterms:W3CDTF">2021-01-27T17:59:39Z</dcterms:created>
  <dcterms:modified xsi:type="dcterms:W3CDTF">2021-01-27T18:01:52Z</dcterms:modified>
</cp:coreProperties>
</file>